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31" r:id="rId5"/>
    <p:sldMasterId id="2147483753" r:id="rId6"/>
    <p:sldMasterId id="2147483757" r:id="rId7"/>
    <p:sldMasterId id="2147483769" r:id="rId8"/>
  </p:sldMasterIdLst>
  <p:notesMasterIdLst>
    <p:notesMasterId r:id="rId11"/>
  </p:notesMasterIdLst>
  <p:handoutMasterIdLst>
    <p:handoutMasterId r:id="rId12"/>
  </p:handoutMasterIdLst>
  <p:sldIdLst>
    <p:sldId id="2147482364" r:id="rId9"/>
    <p:sldId id="214748236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E9438EB-9B1A-474D-B147-9CB2247795F3}">
          <p14:sldIdLst/>
        </p14:section>
        <p14:section name="Untitled Section" id="{F70205DF-8A26-4198-A9EA-F3E46981575E}">
          <p14:sldIdLst>
            <p14:sldId id="2147482364"/>
            <p14:sldId id="21474823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72824C-2578-47BD-F52F-9B91F16B182E}" name="Sajitha Mohan" initials="SM" userId="S::1000003394@hexaware.com::c51dfaf1-1d43-4c6e-9c3d-96349e29bd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0045"/>
    <a:srgbClr val="B07600"/>
    <a:srgbClr val="595959"/>
    <a:srgbClr val="3C2CDA"/>
    <a:srgbClr val="E2F0D9"/>
    <a:srgbClr val="00328C"/>
    <a:srgbClr val="0063D5"/>
    <a:srgbClr val="14C9DC"/>
    <a:srgbClr val="1D86FF"/>
    <a:srgbClr val="8A80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882AAC-4CD2-B986-38D0-1E91C9474540}" v="2" dt="2025-11-18T11:07:20.493"/>
    <p1510:client id="{3BC2B130-5960-79DA-E7EB-5F97CA244869}" v="342" dt="2025-11-18T07:36:35.760"/>
    <p1510:client id="{C0E55F13-40F0-3F50-EBE5-E55269E05881}" v="61" dt="2025-11-18T09:26:40.7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1" d="100"/>
          <a:sy n="71" d="100"/>
        </p:scale>
        <p:origin x="46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1B2259-9883-6F94-1165-B4F149D91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C2DFEC-917D-E7FD-8926-11E6D834EB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C3DF90-B6E1-4448-A065-6EC0CBAAEEAA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588B84-9FF3-B2B6-03B4-760A9E1406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4CFA06-FBBA-EA5B-5C6A-264498FA203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99D79-6FE1-1B41-9FA7-F185D9BA74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87552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anrop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anrope" pitchFamily="2" charset="0"/>
              </a:defRPr>
            </a:lvl1pPr>
          </a:lstStyle>
          <a:p>
            <a:fld id="{ECAE251F-E50B-4AA0-A361-BF69B56A7095}" type="datetimeFigureOut">
              <a:rPr lang="en-US" smtClean="0"/>
              <a:pPr/>
              <a:t>11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anrop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anrope" pitchFamily="2" charset="0"/>
              </a:defRPr>
            </a:lvl1pPr>
          </a:lstStyle>
          <a:p>
            <a:fld id="{331CD59D-0597-43DC-9404-9BA5D1B501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19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anrope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anrope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anrope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anrope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anrop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7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6.em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oleObject" Target="../embeddings/oleObject1.bin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8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oleObject" Target="../embeddings/oleObject2.bin"/><Relationship Id="rId8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3.wdp"/><Relationship Id="rId5" Type="http://schemas.openxmlformats.org/officeDocument/2006/relationships/image" Target="../media/image16.png"/><Relationship Id="rId4" Type="http://schemas.microsoft.com/office/2007/relationships/hdphoto" Target="../media/hdphoto2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microsoft.com/office/2007/relationships/hdphoto" Target="../media/hdphoto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microsoft.com/office/2007/relationships/hdphoto" Target="../media/hdphoto3.wdp"/><Relationship Id="rId4" Type="http://schemas.openxmlformats.org/officeDocument/2006/relationships/image" Target="../media/image1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1.wdp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7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microsoft.com/office/2007/relationships/hdphoto" Target="../media/hdphoto4.wdp"/><Relationship Id="rId7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4.jpeg"/><Relationship Id="rId5" Type="http://schemas.openxmlformats.org/officeDocument/2006/relationships/image" Target="../media/image43.svg"/><Relationship Id="rId4" Type="http://schemas.openxmlformats.org/officeDocument/2006/relationships/image" Target="../media/image1.png"/><Relationship Id="rId9" Type="http://schemas.openxmlformats.org/officeDocument/2006/relationships/image" Target="../media/image47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7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4945255-4D54-BD6F-F948-3B2AF5A407A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en-US"/>
              <a:t>Replace with brand-approved image </a:t>
            </a:r>
            <a:br>
              <a:rPr lang="en-US"/>
            </a:br>
            <a:r>
              <a:rPr lang="en-US"/>
              <a:t>of your choice from SalesCentra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E6E8BE-2736-1222-838E-6E63376063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3108960"/>
            <a:ext cx="5105400" cy="62324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lang="en-US" sz="4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07845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1B5BBF-3656-D3C3-5A83-CACD136FC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08050"/>
            <a:ext cx="5335587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250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FF0805-C9C2-2263-891F-E0EAD4704885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bg2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57AFB80-6C53-A18C-7FEF-6CAEDC4A62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70B9604-38F2-3FB9-7EAE-F929A08B46DA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rgbClr val="CBD0E5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rgbClr val="CBD0E5"/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73989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02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F0E86-E33C-1C9A-B1D6-25E39CA4F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2091739"/>
            <a:ext cx="4884999" cy="62324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4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574EB1B-5E89-24D3-37E1-BE7FA96AAA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2960" y="5470881"/>
            <a:ext cx="1414402" cy="18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87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BAE40"/>
          </p15:clr>
        </p15:guide>
        <p15:guide id="2" pos="393">
          <p15:clr>
            <a:srgbClr val="FBAE40"/>
          </p15:clr>
        </p15:guide>
        <p15:guide id="3" orient="horz" pos="232">
          <p15:clr>
            <a:srgbClr val="FBAE40"/>
          </p15:clr>
        </p15:guide>
        <p15:guide id="4" pos="728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158A0-0F11-9F35-4F6E-E73184461D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3AA510-1B98-A0AC-756D-EEF77EB89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1F587E-E8DC-3948-79BA-EBF89273E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11B0A7-7695-41DD-B262-BE35098C52BB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3D2DF-904C-617F-6190-60B9EEDBE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81E216-9258-8F36-3DAA-EC498A72F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35F77F-B2C3-4CA4-A251-CD7EB9A49B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9241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" y="0"/>
          <a:ext cx="215900" cy="162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3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5900" cy="1629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2" y="0"/>
            <a:ext cx="215900" cy="16298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267" b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Rectangle 59"/>
          <p:cNvSpPr/>
          <p:nvPr/>
        </p:nvSpPr>
        <p:spPr bwMode="ltGray">
          <a:xfrm>
            <a:off x="0" y="6426202"/>
            <a:ext cx="12192000" cy="43603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>
              <a:defRPr/>
            </a:pPr>
            <a:endParaRPr lang="en-US" sz="1867" b="0"/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auto">
          <a:xfrm>
            <a:off x="162986" y="57152"/>
            <a:ext cx="604333" cy="16421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067" b="0" cap="all">
                <a:solidFill>
                  <a:schemeClr val="accent6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auto">
          <a:xfrm>
            <a:off x="162984" y="694269"/>
            <a:ext cx="11724216" cy="328231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33" b="0">
                <a:solidFill>
                  <a:schemeClr val="accent6"/>
                </a:solidFill>
                <a:latin typeface="+mn-lt"/>
                <a:cs typeface="+mn-cs"/>
              </a:rPr>
              <a:t>Subtitle</a:t>
            </a: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auto">
          <a:xfrm>
            <a:off x="162984" y="6175205"/>
            <a:ext cx="11013016" cy="16421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0061" indent="-110061">
              <a:defRPr/>
            </a:pPr>
            <a:r>
              <a:rPr lang="en-US" sz="1067" b="0">
                <a:solidFill>
                  <a:schemeClr val="accent6"/>
                </a:solidFill>
                <a:latin typeface="+mn-lt"/>
                <a:cs typeface="+mn-cs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auto">
          <a:xfrm>
            <a:off x="162984" y="6564230"/>
            <a:ext cx="11013016" cy="16421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pPr marL="651901" indent="-651901" defTabSz="1218092">
              <a:defRPr/>
            </a:pPr>
            <a:r>
              <a:rPr lang="en-US" sz="1067" b="0">
                <a:solidFill>
                  <a:schemeClr val="bg1"/>
                </a:solidFill>
                <a:latin typeface="+mn-lt"/>
                <a:cs typeface="+mn-cs"/>
              </a:rPr>
              <a:t>SOURCE: Source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976968" y="1289195"/>
            <a:ext cx="5799667" cy="797841"/>
            <a:chOff x="915" y="537"/>
            <a:chExt cx="2686" cy="493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537"/>
              <a:ext cx="2686" cy="4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2533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2533" b="0">
                  <a:solidFill>
                    <a:schemeClr val="accent6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Sticker" hidden="1"/>
          <p:cNvGrpSpPr>
            <a:grpSpLocks/>
          </p:cNvGrpSpPr>
          <p:nvPr/>
        </p:nvGrpSpPr>
        <p:grpSpPr bwMode="auto">
          <a:xfrm>
            <a:off x="11256419" y="330203"/>
            <a:ext cx="630767" cy="201085"/>
            <a:chOff x="8267440" y="285750"/>
            <a:chExt cx="473335" cy="15081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auto">
            <a:xfrm>
              <a:off x="8315810" y="285750"/>
              <a:ext cx="424965" cy="1439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1193741">
                <a:buClr>
                  <a:srgbClr val="002960"/>
                </a:buClr>
                <a:defRPr/>
              </a:pPr>
              <a:r>
                <a:rPr lang="en-US" sz="1067" b="0">
                  <a:solidFill>
                    <a:schemeClr val="accent6"/>
                  </a:solidFill>
                  <a:latin typeface="+mn-lt"/>
                  <a:cs typeface="+mn-cs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64" idx="2"/>
              <a:endCxn id="64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</p:spPr>
        </p:cxnSp>
        <p:cxnSp>
          <p:nvCxnSpPr>
            <p:cNvPr id="16" name="AutoShape 32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</p:spPr>
        </p:cxnSp>
      </p:grp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10342036" y="313269"/>
            <a:ext cx="1518740" cy="1013341"/>
            <a:chOff x="7607284" y="279400"/>
            <a:chExt cx="1138482" cy="761137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auto">
            <a:xfrm>
              <a:off x="7607284" y="387511"/>
              <a:ext cx="45697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auto">
            <a:xfrm>
              <a:off x="7607284" y="654608"/>
              <a:ext cx="45697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auto">
            <a:xfrm>
              <a:off x="7607284" y="932834"/>
              <a:ext cx="45697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8168976" y="279400"/>
              <a:ext cx="576790" cy="2158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8168976" y="546497"/>
              <a:ext cx="576790" cy="2158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8168976" y="824724"/>
              <a:ext cx="576790" cy="2158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10752667" y="313267"/>
            <a:ext cx="1108107" cy="1368942"/>
            <a:chOff x="5894005" y="919828"/>
            <a:chExt cx="830511" cy="1027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auto">
            <a:xfrm>
              <a:off x="5894005" y="946846"/>
              <a:ext cx="164987" cy="16051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auto">
            <a:xfrm>
              <a:off x="5894005" y="1217018"/>
              <a:ext cx="164987" cy="16051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auto">
            <a:xfrm>
              <a:off x="5894005" y="1488779"/>
              <a:ext cx="164987" cy="160515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auto">
            <a:xfrm>
              <a:off x="5894005" y="1760542"/>
              <a:ext cx="164987" cy="16051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2533" b="0">
                <a:latin typeface="+mn-lt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147831" y="919828"/>
              <a:ext cx="576685" cy="2157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147831" y="1190000"/>
              <a:ext cx="576685" cy="2157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147831" y="1461763"/>
              <a:ext cx="576685" cy="2157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6147831" y="1731935"/>
              <a:ext cx="576685" cy="2157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10663767" y="313266"/>
            <a:ext cx="1197007" cy="1754173"/>
            <a:chOff x="5894005" y="2696542"/>
            <a:chExt cx="897185" cy="1315176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4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  <p:sp>
            <p:nvSpPr>
              <p:cNvPr id="53" name="Arc 135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2533" b="0">
                  <a:latin typeface="+mn-lt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214476" y="2696542"/>
              <a:ext cx="576714" cy="215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214476" y="2974259"/>
              <a:ext cx="576714" cy="215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214476" y="3248801"/>
              <a:ext cx="576714" cy="215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214476" y="3521757"/>
              <a:ext cx="576714" cy="215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214476" y="3796300"/>
              <a:ext cx="576714" cy="215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1193741">
                <a:buClr>
                  <a:schemeClr val="tx2"/>
                </a:buClr>
                <a:defRPr/>
              </a:pPr>
              <a:r>
                <a:rPr lang="en-US" sz="1867" b="0">
                  <a:latin typeface="+mn-lt"/>
                  <a:cs typeface="+mn-cs"/>
                </a:rPr>
                <a:t>Legend</a:t>
              </a:r>
            </a:p>
          </p:txBody>
        </p:sp>
      </p:grpSp>
      <p:pic>
        <p:nvPicPr>
          <p:cNvPr id="54" name="Afbeelding" descr="Afbeelding"/>
          <p:cNvPicPr>
            <a:picLocks noChangeAspect="1"/>
          </p:cNvPicPr>
          <p:nvPr/>
        </p:nvPicPr>
        <p:blipFill>
          <a:blip r:embed="rId34"/>
          <a:srcRect/>
          <a:stretch>
            <a:fillRect/>
          </a:stretch>
        </p:blipFill>
        <p:spPr bwMode="ltGray">
          <a:xfrm>
            <a:off x="11754910" y="6046228"/>
            <a:ext cx="268817" cy="26881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56" name="doc id"/>
          <p:cNvSpPr>
            <a:spLocks noChangeArrowheads="1"/>
          </p:cNvSpPr>
          <p:nvPr/>
        </p:nvSpPr>
        <p:spPr bwMode="auto">
          <a:xfrm>
            <a:off x="10996086" y="50802"/>
            <a:ext cx="893233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1218092">
              <a:defRPr/>
            </a:pPr>
            <a:endParaRPr lang="en-US" sz="1067" b="0">
              <a:solidFill>
                <a:srgbClr val="808080"/>
              </a:solidFill>
              <a:latin typeface="+mn-lt"/>
              <a:cs typeface="+mn-cs"/>
            </a:endParaRPr>
          </a:p>
        </p:txBody>
      </p:sp>
      <p:graphicFrame>
        <p:nvGraphicFramePr>
          <p:cNvPr id="5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5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doc id" hidden="1"/>
          <p:cNvSpPr>
            <a:spLocks noChangeArrowheads="1"/>
          </p:cNvSpPr>
          <p:nvPr/>
        </p:nvSpPr>
        <p:spPr bwMode="auto">
          <a:xfrm>
            <a:off x="10996086" y="50802"/>
            <a:ext cx="893233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1218092">
              <a:defRPr/>
            </a:pPr>
            <a:endParaRPr lang="en-US" sz="1067" b="0">
              <a:solidFill>
                <a:srgbClr val="808080"/>
              </a:solidFill>
              <a:latin typeface="+mn-lt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304800" y="234951"/>
            <a:ext cx="11582400" cy="419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4272397-A2B3-4C2B-88D5-1AB60213C5D1}"/>
              </a:ext>
            </a:extLst>
          </p:cNvPr>
          <p:cNvSpPr/>
          <p:nvPr/>
        </p:nvSpPr>
        <p:spPr>
          <a:xfrm>
            <a:off x="4233" y="6046227"/>
            <a:ext cx="441782" cy="328229"/>
          </a:xfrm>
          <a:prstGeom prst="rect">
            <a:avLst/>
          </a:prstGeom>
        </p:spPr>
        <p:txBody>
          <a:bodyPr wrap="none" lIns="121917" tIns="60959" rIns="121917" bIns="60959">
            <a:spAutoFit/>
          </a:bodyPr>
          <a:lstStyle/>
          <a:p>
            <a:fld id="{C9FEC446-301F-43EC-802E-A7F3B2AF5A2D}" type="slidenum">
              <a:rPr lang="en-US" sz="1333" b="0" smtClean="0">
                <a:solidFill>
                  <a:schemeClr val="tx1"/>
                </a:solidFill>
                <a:cs typeface="+mn-cs"/>
              </a:rPr>
              <a:pPr/>
              <a:t>‹#›</a:t>
            </a:fld>
            <a:endParaRPr lang="nl-BE" sz="133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400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E7271-20F3-0060-9268-FFBA13FFC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84C3A2-FF02-7F71-77BB-9A61B9121F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7AD986-60FA-AD73-3ADC-E85FA2DC4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3453B-3CD7-4AF4-9D68-8CA73A4E691B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6B45D9-962B-04A4-F6D2-EE1104936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86AE8B-799C-1479-79CB-8520420C3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71691-E820-4C5A-91BA-F688FAAC50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0434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ghlight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FF0805-C9C2-2263-891F-E0EAD4704885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bg2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57AFB80-6C53-A18C-7FEF-6CAEDC4A62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70B9604-38F2-3FB9-7EAE-F929A08B46DA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rgbClr val="CBD0E5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rgbClr val="CBD0E5"/>
              </a:solidFill>
              <a:latin typeface="+mn-lt"/>
              <a:ea typeface="+mn-ea"/>
              <a:cs typeface="Heebo" pitchFamily="2" charset="-79"/>
            </a:endParaRP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6E097E69-8C56-A0E8-F3D2-4330ED1B46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457200"/>
            <a:ext cx="8172450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</p:spTree>
    <p:extLst>
      <p:ext uri="{BB962C8B-B14F-4D97-AF65-F5344CB8AC3E}">
        <p14:creationId xmlns:p14="http://schemas.microsoft.com/office/powerpoint/2010/main" val="2470838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0" y="217413"/>
            <a:ext cx="11068049" cy="609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A400CE3-1C7C-4ACB-8F96-BD0AE257B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159045" y="2827196"/>
            <a:ext cx="8032955" cy="334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5342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8CA7A06-A4D0-E726-24E1-564DFDF36D15}"/>
              </a:ext>
            </a:extLst>
          </p:cNvPr>
          <p:cNvSpPr/>
          <p:nvPr userDrawn="1"/>
        </p:nvSpPr>
        <p:spPr>
          <a:xfrm>
            <a:off x="0" y="6396038"/>
            <a:ext cx="12192000" cy="4619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5782C6C-8642-12F7-996B-03DB7EF61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30984"/>
            <a:ext cx="11887200" cy="452432"/>
          </a:xfrm>
        </p:spPr>
        <p:txBody>
          <a:bodyPr>
            <a:noAutofit/>
          </a:bodyPr>
          <a:lstStyle>
            <a:lvl1pPr>
              <a:defRPr sz="2800" b="1" i="0">
                <a:solidFill>
                  <a:srgbClr val="0F3E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D1908E4-1A54-C478-DE5B-65C71D066FC2}"/>
              </a:ext>
            </a:extLst>
          </p:cNvPr>
          <p:cNvGrpSpPr/>
          <p:nvPr userDrawn="1"/>
        </p:nvGrpSpPr>
        <p:grpSpPr>
          <a:xfrm>
            <a:off x="248555" y="6499850"/>
            <a:ext cx="1692198" cy="236774"/>
            <a:chOff x="8401338" y="342981"/>
            <a:chExt cx="3005745" cy="420568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25FDE3CD-0327-90FB-D9C4-AA23B8FF7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01338" y="484716"/>
              <a:ext cx="2377821" cy="278833"/>
            </a:xfrm>
            <a:prstGeom prst="rect">
              <a:avLst/>
            </a:prstGeom>
          </p:spPr>
        </p:pic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7B43D3E-F2A6-6D89-3D02-1B44EF1317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56667" y="342981"/>
              <a:ext cx="0" cy="376524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7E22F94-320A-2082-6593-0182FB8B3C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r="73540"/>
            <a:stretch/>
          </p:blipFill>
          <p:spPr>
            <a:xfrm>
              <a:off x="10987603" y="342981"/>
              <a:ext cx="419480" cy="376524"/>
            </a:xfrm>
            <a:prstGeom prst="rect">
              <a:avLst/>
            </a:prstGeom>
          </p:spPr>
        </p:pic>
      </p:grpSp>
      <p:sp>
        <p:nvSpPr>
          <p:cNvPr id="7" name="Text Box 16">
            <a:extLst>
              <a:ext uri="{FF2B5EF4-FFF2-40B4-BE49-F238E27FC236}">
                <a16:creationId xmlns:a16="http://schemas.microsoft.com/office/drawing/2014/main" id="{BED98CBA-8807-9137-B7CC-2CC77DF698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58106" y="6598125"/>
            <a:ext cx="40919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kern="120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rPr>
              <a:t>www.hexaware.com  | </a:t>
            </a:r>
            <a:r>
              <a:rPr lang="en-US" sz="900" b="0" i="0">
                <a:solidFill>
                  <a:schemeClr val="tx1"/>
                </a:solidFill>
                <a:latin typeface="+mn-lt"/>
                <a:cs typeface="Segoe UI" panose="020B0502040204020203" pitchFamily="34" charset="0"/>
              </a:rPr>
              <a:t>© Hexaware Technologies. All rights reserved. </a:t>
            </a:r>
          </a:p>
        </p:txBody>
      </p:sp>
      <p:sp>
        <p:nvSpPr>
          <p:cNvPr id="8" name="Slide Number Placeholder 27">
            <a:extLst>
              <a:ext uri="{FF2B5EF4-FFF2-40B4-BE49-F238E27FC236}">
                <a16:creationId xmlns:a16="http://schemas.microsoft.com/office/drawing/2014/main" id="{1D229EF6-71FD-ADE9-55C4-9757AE034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99069" y="6539384"/>
            <a:ext cx="440531" cy="230832"/>
          </a:xfrm>
        </p:spPr>
        <p:txBody>
          <a:bodyPr wrap="square">
            <a:noAutofit/>
          </a:bodyPr>
          <a:lstStyle>
            <a:lvl1pPr algn="ct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2B8EE-0DEF-A54D-B963-4130827DE1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10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Buy Life Insurance Plans &amp; Policy Online In India 2024">
            <a:extLst>
              <a:ext uri="{FF2B5EF4-FFF2-40B4-BE49-F238E27FC236}">
                <a16:creationId xmlns:a16="http://schemas.microsoft.com/office/drawing/2014/main" id="{A893EE67-4CC9-DCAB-D5D3-636E3D3829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4"/>
          <a:stretch/>
        </p:blipFill>
        <p:spPr bwMode="auto">
          <a:xfrm>
            <a:off x="0" y="0"/>
            <a:ext cx="12192000" cy="6861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793116-50A0-AA29-E486-358218E592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F926047-61C4-E36C-586B-D5D237232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70457" y="643149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713EE9-A8CD-47B8-A195-5D6F8D9A3B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DB3777-BC1C-F6CE-2E4E-F82221F1E626}"/>
              </a:ext>
            </a:extLst>
          </p:cNvPr>
          <p:cNvSpPr txBox="1"/>
          <p:nvPr userDrawn="1"/>
        </p:nvSpPr>
        <p:spPr>
          <a:xfrm flipH="1">
            <a:off x="661481" y="6570026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2F8D823-159C-0819-EE50-95498FEABB44}"/>
              </a:ext>
            </a:extLst>
          </p:cNvPr>
          <p:cNvGrpSpPr/>
          <p:nvPr userDrawn="1"/>
        </p:nvGrpSpPr>
        <p:grpSpPr>
          <a:xfrm>
            <a:off x="7057737" y="1179694"/>
            <a:ext cx="4160634" cy="392252"/>
            <a:chOff x="7057737" y="1179694"/>
            <a:chExt cx="4160634" cy="392252"/>
          </a:xfrm>
        </p:grpSpPr>
        <p:pic>
          <p:nvPicPr>
            <p:cNvPr id="3" name="Picture 2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413FE567-C06D-2EF3-1FBB-75B2F80B67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pic>
          <p:nvPicPr>
            <p:cNvPr id="4" name="x_Image 1">
              <a:extLst>
                <a:ext uri="{FF2B5EF4-FFF2-40B4-BE49-F238E27FC236}">
                  <a16:creationId xmlns:a16="http://schemas.microsoft.com/office/drawing/2014/main" id="{609B3333-E93D-7DED-9B9F-4F15296B8C4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7737" y="1193258"/>
              <a:ext cx="1885565" cy="36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BD61E06-964C-9565-1228-BF42F18C8A2B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F699781E-7246-C4E5-3D61-7CEDDCEC7F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923C5A8-CA71-CEA3-C45A-5C86C1651CA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4160520" cy="509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410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112" y="6477001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484676"/>
            <a:ext cx="9028110" cy="313350"/>
          </a:xfrm>
          <a:prstGeom prst="rect">
            <a:avLst/>
          </a:prstGeom>
        </p:spPr>
        <p:txBody>
          <a:bodyPr wrap="square" lIns="0" tIns="36000" rIns="0" bIns="0" anchor="ctr" anchorCtr="0">
            <a:spAutoFit/>
          </a:bodyPr>
          <a:lstStyle>
            <a:lvl1pPr marL="0" indent="0"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FFEB-A63D-7128-BD14-C91E8A94E52A}"/>
              </a:ext>
            </a:extLst>
          </p:cNvPr>
          <p:cNvSpPr txBox="1"/>
          <p:nvPr userDrawn="1"/>
        </p:nvSpPr>
        <p:spPr>
          <a:xfrm>
            <a:off x="623888" y="6615500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78ACC39-35BF-28D4-73CD-F43BC6996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-2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5300" y="567677"/>
            <a:ext cx="914400" cy="12273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609F29-1831-73A3-D5DF-B989FC992AF8}"/>
              </a:ext>
            </a:extLst>
          </p:cNvPr>
          <p:cNvCxnSpPr>
            <a:cxnSpLocks/>
          </p:cNvCxnSpPr>
          <p:nvPr userDrawn="1"/>
        </p:nvCxnSpPr>
        <p:spPr>
          <a:xfrm>
            <a:off x="10608424" y="548481"/>
            <a:ext cx="0" cy="1857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804A010-8B3F-E606-87E8-BA0634687A7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616" y="551710"/>
            <a:ext cx="719931" cy="1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28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ifference Between General Insurance and Life Insurance">
            <a:extLst>
              <a:ext uri="{FF2B5EF4-FFF2-40B4-BE49-F238E27FC236}">
                <a16:creationId xmlns:a16="http://schemas.microsoft.com/office/drawing/2014/main" id="{7BF67F01-F4F6-7775-4642-D0202B81FBA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25" r="14728"/>
          <a:stretch/>
        </p:blipFill>
        <p:spPr bwMode="auto">
          <a:xfrm>
            <a:off x="0" y="4438"/>
            <a:ext cx="12192000" cy="685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B066B55-188E-37F6-409E-E4D865BD927E}"/>
              </a:ext>
            </a:extLst>
          </p:cNvPr>
          <p:cNvSpPr txBox="1"/>
          <p:nvPr userDrawn="1"/>
        </p:nvSpPr>
        <p:spPr>
          <a:xfrm flipH="1">
            <a:off x="372862" y="6331372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8122C3A-0D8C-30DA-3D20-F86E3AACF0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9325864" cy="6857999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A4189B50-6A55-75C7-A0A2-57809A8DF1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2862" y="4107114"/>
            <a:ext cx="9892316" cy="423097"/>
          </a:xfrm>
        </p:spPr>
        <p:txBody>
          <a:bodyPr lIns="0" tIns="0" rIns="0" bIns="0"/>
          <a:lstStyle>
            <a:lvl1pPr marL="0" indent="0" algn="l">
              <a:buNone/>
              <a:defRPr sz="2400" b="0">
                <a:solidFill>
                  <a:schemeClr val="bg1"/>
                </a:solidFill>
                <a:effectLst/>
                <a:latin typeface="Manrope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512EC1-3531-A74C-5DA9-1F453D947D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862" y="2819084"/>
            <a:ext cx="11430000" cy="987994"/>
          </a:xfrm>
        </p:spPr>
        <p:txBody>
          <a:bodyPr lIns="0" tIns="0" rIns="0" bIns="0" anchor="b">
            <a:normAutofit/>
          </a:bodyPr>
          <a:lstStyle>
            <a:lvl1pPr algn="l">
              <a:defRPr sz="4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x_Image 1">
            <a:extLst>
              <a:ext uri="{FF2B5EF4-FFF2-40B4-BE49-F238E27FC236}">
                <a16:creationId xmlns:a16="http://schemas.microsoft.com/office/drawing/2014/main" id="{BE2EF0A2-BAAC-A98E-66BF-DA1A45B6C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435" y="549145"/>
            <a:ext cx="1885565" cy="36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 descr="A blue letters on a black background&#10;&#10;Description automatically generated">
            <a:extLst>
              <a:ext uri="{FF2B5EF4-FFF2-40B4-BE49-F238E27FC236}">
                <a16:creationId xmlns:a16="http://schemas.microsoft.com/office/drawing/2014/main" id="{F052E301-D29C-B5DB-96A8-B6A71F6EFC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18014"/>
            <a:ext cx="2047914" cy="27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72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240">
          <p15:clr>
            <a:srgbClr val="FBAE40"/>
          </p15:clr>
        </p15:guide>
        <p15:guide id="3" pos="7416">
          <p15:clr>
            <a:srgbClr val="FBAE40"/>
          </p15:clr>
        </p15:guide>
        <p15:guide id="4" orient="horz" pos="413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46E959F-E74E-848A-01BE-A6187B7CD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4581" y="6431492"/>
            <a:ext cx="53907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713EE9-A8CD-47B8-A195-5D6F8D9A3B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BEFD874-AC0E-EC39-A8E0-E0916FCB5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07975"/>
            <a:ext cx="10093035" cy="427355"/>
          </a:xfrm>
        </p:spPr>
        <p:txBody>
          <a:bodyPr lIns="0" tIns="0" rIns="0" bIns="0" anchor="ctr">
            <a:noAutofit/>
          </a:bodyPr>
          <a:lstStyle>
            <a:lvl1pPr>
              <a:defRPr sz="2000" b="1">
                <a:solidFill>
                  <a:schemeClr val="accent2"/>
                </a:solidFill>
                <a:latin typeface="Manrope" pitchFamily="2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D62310-8992-AF30-74E0-0516D418417C}"/>
              </a:ext>
            </a:extLst>
          </p:cNvPr>
          <p:cNvSpPr txBox="1"/>
          <p:nvPr userDrawn="1"/>
        </p:nvSpPr>
        <p:spPr>
          <a:xfrm flipH="1">
            <a:off x="1483212" y="6550025"/>
            <a:ext cx="3836307" cy="180425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700" b="0">
                <a:solidFill>
                  <a:schemeClr val="tx1"/>
                </a:solidFill>
                <a:latin typeface="Manrope" pitchFamily="2" charset="0"/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700">
              <a:solidFill>
                <a:schemeClr val="tx1"/>
              </a:solidFill>
              <a:latin typeface="Manrope" pitchFamily="2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1026" name="x_Image 1">
            <a:extLst>
              <a:ext uri="{FF2B5EF4-FFF2-40B4-BE49-F238E27FC236}">
                <a16:creationId xmlns:a16="http://schemas.microsoft.com/office/drawing/2014/main" id="{2D4DC473-0D69-97F8-F99B-0484D495AB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4872" y="441624"/>
            <a:ext cx="1207077" cy="23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blue letters on a black background&#10;&#10;Description automatically generated">
            <a:extLst>
              <a:ext uri="{FF2B5EF4-FFF2-40B4-BE49-F238E27FC236}">
                <a16:creationId xmlns:a16="http://schemas.microsoft.com/office/drawing/2014/main" id="{B08BF194-5245-A8B6-95B4-0787607F14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1" y="6537566"/>
            <a:ext cx="1087581" cy="14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48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  <p15:guide id="4" pos="7428">
          <p15:clr>
            <a:srgbClr val="FBAE40"/>
          </p15:clr>
        </p15:guide>
        <p15:guide id="5" pos="240">
          <p15:clr>
            <a:srgbClr val="FBAE40"/>
          </p15:clr>
        </p15:guide>
        <p15:guide id="6" orient="horz" pos="39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055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7" y="458909"/>
            <a:ext cx="10148887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1" kern="1200" dirty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FFEB-A63D-7128-BD14-C91E8A94E52A}"/>
              </a:ext>
            </a:extLst>
          </p:cNvPr>
          <p:cNvSpPr txBox="1"/>
          <p:nvPr userDrawn="1"/>
        </p:nvSpPr>
        <p:spPr>
          <a:xfrm>
            <a:off x="242888" y="6591687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tx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tx1"/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32E3E3E-D328-E2CE-426A-4EFD7F158D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59810" y="610686"/>
            <a:ext cx="914400" cy="122739"/>
          </a:xfrm>
          <a:prstGeom prst="rect">
            <a:avLst/>
          </a:prstGeom>
        </p:spPr>
      </p:pic>
      <p:pic>
        <p:nvPicPr>
          <p:cNvPr id="7" name="x_Image 1">
            <a:extLst>
              <a:ext uri="{FF2B5EF4-FFF2-40B4-BE49-F238E27FC236}">
                <a16:creationId xmlns:a16="http://schemas.microsoft.com/office/drawing/2014/main" id="{12BF5F81-EDB0-B1B2-EABD-6760B2617E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472" y="251429"/>
            <a:ext cx="1207077" cy="23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9DFDD5-84C8-D80C-5E44-3C14C54E2BB1}"/>
              </a:ext>
            </a:extLst>
          </p:cNvPr>
          <p:cNvCxnSpPr/>
          <p:nvPr userDrawn="1"/>
        </p:nvCxnSpPr>
        <p:spPr>
          <a:xfrm>
            <a:off x="11155073" y="547928"/>
            <a:ext cx="5238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ADCB8DE3-2AE5-C300-071C-478EBF3E88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242888" y="150153"/>
            <a:ext cx="10148887" cy="20255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</p:spTree>
    <p:extLst>
      <p:ext uri="{BB962C8B-B14F-4D97-AF65-F5344CB8AC3E}">
        <p14:creationId xmlns:p14="http://schemas.microsoft.com/office/powerpoint/2010/main" val="229607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681C0EF-F061-4D11-31FC-ADD575EA62E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2B20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055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7" y="458909"/>
            <a:ext cx="10148887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1" kern="1200" dirty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FFEB-A63D-7128-BD14-C91E8A94E52A}"/>
              </a:ext>
            </a:extLst>
          </p:cNvPr>
          <p:cNvSpPr txBox="1"/>
          <p:nvPr userDrawn="1"/>
        </p:nvSpPr>
        <p:spPr>
          <a:xfrm>
            <a:off x="242888" y="6591687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bg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bg1"/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32E3E3E-D328-E2CE-426A-4EFD7F158D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59810" y="610686"/>
            <a:ext cx="914400" cy="12273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9DFDD5-84C8-D80C-5E44-3C14C54E2BB1}"/>
              </a:ext>
            </a:extLst>
          </p:cNvPr>
          <p:cNvCxnSpPr/>
          <p:nvPr userDrawn="1"/>
        </p:nvCxnSpPr>
        <p:spPr>
          <a:xfrm>
            <a:off x="11155073" y="547928"/>
            <a:ext cx="5238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x_Image 1">
            <a:extLst>
              <a:ext uri="{FF2B5EF4-FFF2-40B4-BE49-F238E27FC236}">
                <a16:creationId xmlns:a16="http://schemas.microsoft.com/office/drawing/2014/main" id="{4F9633A6-FD85-56DF-9E41-D1967E80C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810" y="220222"/>
            <a:ext cx="1000035" cy="19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 descr="A blue letters on a black background&#10;&#10;Description automatically generated">
            <a:extLst>
              <a:ext uri="{FF2B5EF4-FFF2-40B4-BE49-F238E27FC236}">
                <a16:creationId xmlns:a16="http://schemas.microsoft.com/office/drawing/2014/main" id="{5313DE3B-357F-D610-FC38-958612F261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810" y="614760"/>
            <a:ext cx="914400" cy="12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879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055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7" y="458909"/>
            <a:ext cx="10148887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1" kern="1200" dirty="0">
                <a:solidFill>
                  <a:schemeClr val="tx1"/>
                </a:solidFill>
                <a:latin typeface="Manrope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FFEB-A63D-7128-BD14-C91E8A94E52A}"/>
              </a:ext>
            </a:extLst>
          </p:cNvPr>
          <p:cNvSpPr txBox="1"/>
          <p:nvPr userDrawn="1"/>
        </p:nvSpPr>
        <p:spPr>
          <a:xfrm>
            <a:off x="242888" y="6591687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tx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tx1"/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32E3E3E-D328-E2CE-426A-4EFD7F158D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59810" y="610686"/>
            <a:ext cx="914400" cy="122739"/>
          </a:xfrm>
          <a:prstGeom prst="rect">
            <a:avLst/>
          </a:prstGeom>
        </p:spPr>
      </p:pic>
      <p:pic>
        <p:nvPicPr>
          <p:cNvPr id="7" name="x_Image 1">
            <a:extLst>
              <a:ext uri="{FF2B5EF4-FFF2-40B4-BE49-F238E27FC236}">
                <a16:creationId xmlns:a16="http://schemas.microsoft.com/office/drawing/2014/main" id="{12BF5F81-EDB0-B1B2-EABD-6760B2617E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472" y="251429"/>
            <a:ext cx="1207077" cy="23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9DFDD5-84C8-D80C-5E44-3C14C54E2BB1}"/>
              </a:ext>
            </a:extLst>
          </p:cNvPr>
          <p:cNvCxnSpPr/>
          <p:nvPr userDrawn="1"/>
        </p:nvCxnSpPr>
        <p:spPr>
          <a:xfrm>
            <a:off x="11155073" y="547928"/>
            <a:ext cx="5238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366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96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1D4C2-A53C-185A-4F45-090C40CAD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334645"/>
            <a:ext cx="10065327" cy="376555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b="1" dirty="0">
                <a:solidFill>
                  <a:schemeClr val="accent2"/>
                </a:solidFill>
                <a:latin typeface="Manrope" pitchFamily="2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8F306D-281A-0AA8-8D25-921E010287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784861"/>
            <a:ext cx="10065327" cy="304800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 b="0">
                <a:solidFill>
                  <a:schemeClr val="bg1">
                    <a:lumMod val="50000"/>
                  </a:schemeClr>
                </a:solidFill>
                <a:latin typeface="Manrope" pitchFamily="2" charset="0"/>
              </a:defRPr>
            </a:lvl1pPr>
          </a:lstStyle>
          <a:p>
            <a:pPr lvl="0"/>
            <a:r>
              <a:rPr lang="en-US"/>
              <a:t>Click to sub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367A2A7-E183-2366-8690-3BDDD84E9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708" y="6477000"/>
            <a:ext cx="377805" cy="3048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713EE9-A8CD-47B8-A195-5D6F8D9A3B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5D70AF-9227-109C-4122-8DCC82DBFAE8}"/>
              </a:ext>
            </a:extLst>
          </p:cNvPr>
          <p:cNvSpPr txBox="1"/>
          <p:nvPr userDrawn="1"/>
        </p:nvSpPr>
        <p:spPr>
          <a:xfrm flipH="1">
            <a:off x="9331063" y="6523355"/>
            <a:ext cx="286093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tx1"/>
                </a:solidFill>
                <a:ea typeface="Roboto Condensed" panose="02000000000000000000" pitchFamily="2" charset="0"/>
                <a:cs typeface="Calibri" panose="020F0502020204030204" pitchFamily="34" charset="0"/>
              </a:rPr>
              <a:t>| © Hexaware Technologies. All rights reserved. </a:t>
            </a:r>
            <a:endParaRPr lang="id-ID" sz="1000">
              <a:solidFill>
                <a:schemeClr val="tx1"/>
              </a:solidFill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pic>
        <p:nvPicPr>
          <p:cNvPr id="13" name="Picture 12" descr="A blue letters on a black background&#10;&#10;Description automatically generated">
            <a:extLst>
              <a:ext uri="{FF2B5EF4-FFF2-40B4-BE49-F238E27FC236}">
                <a16:creationId xmlns:a16="http://schemas.microsoft.com/office/drawing/2014/main" id="{550A37A4-757B-A3BA-422B-96546D6D1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9016" y="6563166"/>
            <a:ext cx="1106984" cy="146967"/>
          </a:xfrm>
          <a:prstGeom prst="rect">
            <a:avLst/>
          </a:prstGeom>
        </p:spPr>
      </p:pic>
      <p:pic>
        <p:nvPicPr>
          <p:cNvPr id="3" name="x_Image 1">
            <a:extLst>
              <a:ext uri="{FF2B5EF4-FFF2-40B4-BE49-F238E27FC236}">
                <a16:creationId xmlns:a16="http://schemas.microsoft.com/office/drawing/2014/main" id="{ADE38E93-CFEE-7574-18CE-E84324F58F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4872" y="403920"/>
            <a:ext cx="1207077" cy="23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7378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16">
          <p15:clr>
            <a:srgbClr val="FBAE40"/>
          </p15:clr>
        </p15:guide>
        <p15:guide id="3" orient="horz" pos="4032">
          <p15:clr>
            <a:srgbClr val="FBAE40"/>
          </p15:clr>
        </p15:guide>
        <p15:guide id="4" pos="7428">
          <p15:clr>
            <a:srgbClr val="FBAE40"/>
          </p15:clr>
        </p15:guide>
        <p15:guide id="5" pos="2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A893EE67-4CC9-DCAB-D5D3-636E3D3829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" r="23"/>
          <a:stretch/>
        </p:blipFill>
        <p:spPr bwMode="auto">
          <a:xfrm>
            <a:off x="0" y="-3178"/>
            <a:ext cx="12192000" cy="6861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7D36AE-BE78-AA2C-5480-32BC8D5FB0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12192000" cy="6857999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793116-50A0-AA29-E486-358218E592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8CC235-9B18-16EF-DD14-29F46FA9CCAD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DB3777-BC1C-F6CE-2E4E-F82221F1E626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46F41E-9906-4BDF-AEAD-78F5BB9BFEBD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26DD751-A430-EE82-2506-A32E7D99ECB5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9" name="Picture 8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E6BBF2DA-54A2-A9EB-C2AB-30F7F809DA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8AF6781-03BC-55B2-D3B4-C0FAD90B5EBF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27A33A47-6E8E-3306-1B1F-ED85BB883D7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83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A893EE67-4CC9-DCAB-D5D3-636E3D3829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" r="23"/>
          <a:stretch/>
        </p:blipFill>
        <p:spPr bwMode="auto">
          <a:xfrm>
            <a:off x="0" y="-3178"/>
            <a:ext cx="12192000" cy="6861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7D36AE-BE78-AA2C-5480-32BC8D5FB0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9325864" cy="6857999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793116-50A0-AA29-E486-358218E592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8CC235-9B18-16EF-DD14-29F46FA9CCAD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DB3777-BC1C-F6CE-2E4E-F82221F1E626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1F6AA4-283C-4304-D4D6-55939D0176B3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10E67AE-B0B4-18D7-9964-9D0459326BC4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9" name="Picture 8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6CCA6502-F19B-EAC3-C2E9-17C045A8B5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352872E-7A4C-C092-C101-376297DB08C0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3675216-6C31-EE05-A268-EF08BF1CC9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76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22FD4D14-AB27-2019-92D8-4B26ACF23C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4C03924-9A1E-B100-E45C-DEDE5EB42E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12183364" cy="6857999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284003F-3CB0-DF43-6AC2-1840D459F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115E7B-FC6C-F6E5-87AC-AC5431AF57B6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1546CE-B300-E4BA-2467-10282451BE3D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D28B71C-8F11-2D60-4967-2A24D1190063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4" name="Picture 3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5970903C-27F3-88DF-8909-AE7FF62750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4E3FF715-EC1B-1C19-B219-F80A64871C49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B0650F3-268F-7279-2395-9EAF176CFA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576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Understanding Group Term Life Insurance">
            <a:extLst>
              <a:ext uri="{FF2B5EF4-FFF2-40B4-BE49-F238E27FC236}">
                <a16:creationId xmlns:a16="http://schemas.microsoft.com/office/drawing/2014/main" id="{37326C46-760F-B066-B6EB-1CF1BCF4B0E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" t="5113" b="581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302CDC-F4DD-83BD-33D3-BD212E3517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5" y="1"/>
            <a:ext cx="12191999" cy="6857999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DD9EB96-D8C9-F1E1-1F49-DB9AA1A51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B5E54D-3F5F-FD11-F46F-E049A2D65CFA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124A84-CC84-3FF2-9A8F-4F7DCA287159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B1292E-18E8-E775-0310-CC4E56BB3472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A6DF49F-CDA0-8A94-163C-45509446D4B1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9" name="Picture 8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978CAEAC-9D83-FFF1-AD81-D575B60C75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723F8EE-6566-258E-3B32-8CEF6F030987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F94B43B-D252-EC50-75A3-AC4CCDAE2C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417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with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A799FA-C73D-ED39-C551-268E9A6FE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08050"/>
            <a:ext cx="5307012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2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554E1C-C3D3-0AA0-1FE5-E52D3268E9F6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CFC0FC-EE3C-B83B-D888-70A4672B3C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457200"/>
            <a:ext cx="8172450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5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Deck Title/Main Idea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2FC992F-4FDC-3A9F-0EA2-73D4A2F79E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FCA7A7A-3891-B974-5E27-533BA0B03D1B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296452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Group of senior women">
            <a:extLst>
              <a:ext uri="{FF2B5EF4-FFF2-40B4-BE49-F238E27FC236}">
                <a16:creationId xmlns:a16="http://schemas.microsoft.com/office/drawing/2014/main" id="{44FED57C-0BEB-E1CE-0265-FA47C0874D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C7BF02A-C4C0-AECF-1109-CC9CF244DA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9325864" cy="6857999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C9BE29E-10E0-B67E-CEB0-36AC9A925F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84EECF-7C91-AFD9-9984-5B56A3C70FF9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A2C1AC-8AC0-B379-1B93-569D08CB09E4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CE6261-8A2D-72F6-7E49-845780238ECD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EF5D031-BDE2-8D18-E20F-9FC75F86B1A0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10" name="Picture 9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3E3529D3-B5B1-AB8A-2583-3C3FB7964F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73018F-11DF-E5F7-D753-65B8170D0AF3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41FECFE-6CA7-A9E5-4FDB-57B9B23E252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8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Senior women drinking tea">
            <a:extLst>
              <a:ext uri="{FF2B5EF4-FFF2-40B4-BE49-F238E27FC236}">
                <a16:creationId xmlns:a16="http://schemas.microsoft.com/office/drawing/2014/main" id="{44FED57C-0BEB-E1CE-0265-FA47C0874D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9" b="570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6B0F18-FEB9-FB5A-2390-C682499CD3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12183364" cy="6857999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C505AF8-F4D1-1B44-234A-02861CC10C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C85E06-DEC3-29AD-16D9-3191B8EB4927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E25AA4-34EB-3623-D2B7-D68CD654DF14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EE76FD-5163-1C8A-34BC-EA7BAA27C522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58B4ED4-BA06-324D-B167-98FB980A97DF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10" name="Picture 9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DCCEF4B5-1CFE-0670-B2C4-D79E71B46C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652732B-E1B0-E170-20F9-0D53D876439C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2DE6287-2A37-8D6F-ADF2-DB3CDC7254A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52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Buy Life Insurance Plans &amp; Policy Online In India 2024">
            <a:extLst>
              <a:ext uri="{FF2B5EF4-FFF2-40B4-BE49-F238E27FC236}">
                <a16:creationId xmlns:a16="http://schemas.microsoft.com/office/drawing/2014/main" id="{A893EE67-4CC9-DCAB-D5D3-636E3D3829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4"/>
          <a:stretch/>
        </p:blipFill>
        <p:spPr bwMode="auto">
          <a:xfrm>
            <a:off x="0" y="-3178"/>
            <a:ext cx="12192000" cy="6861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AC5938F-0831-7F00-E01F-0FCEE7B321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10325535" cy="6857999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F926047-61C4-E36C-586B-D5D237232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70457" y="643149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713EE9-A8CD-47B8-A195-5D6F8D9A3B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DB3777-BC1C-F6CE-2E4E-F82221F1E626}"/>
              </a:ext>
            </a:extLst>
          </p:cNvPr>
          <p:cNvSpPr txBox="1"/>
          <p:nvPr userDrawn="1"/>
        </p:nvSpPr>
        <p:spPr>
          <a:xfrm flipH="1">
            <a:off x="661481" y="6570026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A237C64-7D6C-A52B-5A22-AD8B660DC0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marL="0" lvl="0" indent="0">
              <a:buNone/>
            </a:pPr>
            <a:r>
              <a:rPr lang="en-US"/>
              <a:t>Section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C0922-9B70-0310-4008-75A7F6C18A64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D783D37-2A9C-1692-8C03-0CB408D29552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14" name="Picture 13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051F84F9-887C-FE86-3B60-1040C2608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973C11B-ACBC-9BE3-C8D4-2BD527DC97CC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Picture 16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FAC3654-BAA5-5950-0F6B-CCCEDDB914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782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44FED57C-0BEB-E1CE-0265-FA47C0874D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C38A71E-40A9-E655-08F0-79804DD42A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" y="1"/>
            <a:ext cx="12192000" cy="6857999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C505AF8-F4D1-1B44-234A-02861CC10C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6970" y="3462437"/>
            <a:ext cx="9681401" cy="1943981"/>
          </a:xfrm>
        </p:spPr>
        <p:txBody>
          <a:bodyPr anchor="ctr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nrope" pitchFamily="2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C85E06-DEC3-29AD-16D9-3191B8EB4927}"/>
              </a:ext>
            </a:extLst>
          </p:cNvPr>
          <p:cNvSpPr/>
          <p:nvPr userDrawn="1"/>
        </p:nvSpPr>
        <p:spPr>
          <a:xfrm>
            <a:off x="697149" y="952113"/>
            <a:ext cx="10797702" cy="4950597"/>
          </a:xfrm>
          <a:prstGeom prst="rect">
            <a:avLst/>
          </a:prstGeom>
          <a:noFill/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E25AA4-34EB-3623-D2B7-D68CD654DF14}"/>
              </a:ext>
            </a:extLst>
          </p:cNvPr>
          <p:cNvSpPr txBox="1"/>
          <p:nvPr userDrawn="1"/>
        </p:nvSpPr>
        <p:spPr>
          <a:xfrm flipH="1">
            <a:off x="661481" y="6268825"/>
            <a:ext cx="3836307" cy="226591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r>
              <a:rPr lang="en-US" sz="10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Calibri" panose="020F0502020204030204" pitchFamily="34" charset="0"/>
              </a:rPr>
              <a:t>www.hexaware.com  | © Hexaware Technologies. All rights reserved. </a:t>
            </a:r>
            <a:endParaRPr lang="id-ID" sz="10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042C06A-E96C-068E-7423-46EFD483240D}"/>
              </a:ext>
            </a:extLst>
          </p:cNvPr>
          <p:cNvGrpSpPr/>
          <p:nvPr userDrawn="1"/>
        </p:nvGrpSpPr>
        <p:grpSpPr>
          <a:xfrm>
            <a:off x="3035256" y="2863637"/>
            <a:ext cx="1504261" cy="271888"/>
            <a:chOff x="9048179" y="1179694"/>
            <a:chExt cx="2170192" cy="392252"/>
          </a:xfrm>
        </p:grpSpPr>
        <p:pic>
          <p:nvPicPr>
            <p:cNvPr id="6" name="Picture 5" descr="A blue letters on a black background&#10;&#10;Description automatically generated">
              <a:extLst>
                <a:ext uri="{FF2B5EF4-FFF2-40B4-BE49-F238E27FC236}">
                  <a16:creationId xmlns:a16="http://schemas.microsoft.com/office/drawing/2014/main" id="{C57891A5-8D6F-F1E7-B94A-C17D294A34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457" y="1239876"/>
              <a:ext cx="2047914" cy="271888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68BD691-5942-D0B9-8F5E-37F322EDA3AF}"/>
                </a:ext>
              </a:extLst>
            </p:cNvPr>
            <p:cNvCxnSpPr/>
            <p:nvPr userDrawn="1"/>
          </p:nvCxnSpPr>
          <p:spPr>
            <a:xfrm>
              <a:off x="9048179" y="1179694"/>
              <a:ext cx="0" cy="39225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576E7C2-65E2-F6D6-A33F-B960BEF327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6" y="2837235"/>
            <a:ext cx="1255971" cy="26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691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93B77DD-25FA-4E00-A89E-457DC2A93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09" y="254639"/>
            <a:ext cx="9694232" cy="4524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600" b="1">
                <a:solidFill>
                  <a:srgbClr val="4D4D4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B301D7C-B9C7-4549-BD58-4AFBA8D57B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77837" y="217413"/>
            <a:ext cx="728708" cy="681910"/>
          </a:xfrm>
          <a:prstGeom prst="rect">
            <a:avLst/>
          </a:prstGeom>
        </p:spPr>
      </p:pic>
      <p:sp>
        <p:nvSpPr>
          <p:cNvPr id="4" name="Text Box 16">
            <a:extLst>
              <a:ext uri="{FF2B5EF4-FFF2-40B4-BE49-F238E27FC236}">
                <a16:creationId xmlns:a16="http://schemas.microsoft.com/office/drawing/2014/main" id="{6A9F6C51-16C8-4D90-90D8-2BFAED9103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60388" y="6504793"/>
            <a:ext cx="409193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+mn-ea"/>
                <a:cs typeface="+mn-cs"/>
              </a:rPr>
              <a:t>www.hexaware.com  | </a:t>
            </a:r>
            <a:r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© Hexaware Technologies. All rights reserved.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5DF3227-37E5-4EC6-921E-BA24D2499B7C}"/>
              </a:ext>
            </a:extLst>
          </p:cNvPr>
          <p:cNvSpPr txBox="1">
            <a:spLocks/>
          </p:cNvSpPr>
          <p:nvPr userDrawn="1"/>
        </p:nvSpPr>
        <p:spPr>
          <a:xfrm>
            <a:off x="11826181" y="6504793"/>
            <a:ext cx="27057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39601925-951F-4EA8-91E5-A517312BFAAA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pPr lvl="0"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1298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93B77DD-25FA-4E00-A89E-457DC2A93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320" y="135734"/>
            <a:ext cx="9345145" cy="452432"/>
          </a:xfrm>
          <a:prstGeom prst="rect">
            <a:avLst/>
          </a:prstGeom>
        </p:spPr>
        <p:txBody>
          <a:bodyPr wrap="square" lIns="0" tIns="91440" bIns="91440" anchor="t" anchorCtr="0">
            <a:noAutofit/>
          </a:bodyPr>
          <a:lstStyle>
            <a:lvl1pPr>
              <a:defRPr sz="2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Freeform 9">
            <a:extLst>
              <a:ext uri="{FF2B5EF4-FFF2-40B4-BE49-F238E27FC236}">
                <a16:creationId xmlns:a16="http://schemas.microsoft.com/office/drawing/2014/main" id="{BF32FB40-C0CF-4B72-9B37-A9868276318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" y="0"/>
            <a:ext cx="439516" cy="723900"/>
          </a:xfrm>
          <a:custGeom>
            <a:avLst/>
            <a:gdLst>
              <a:gd name="T0" fmla="*/ 1344 w 1344"/>
              <a:gd name="T1" fmla="*/ 0 h 2216"/>
              <a:gd name="T2" fmla="*/ 1344 w 1344"/>
              <a:gd name="T3" fmla="*/ 2216 h 2216"/>
              <a:gd name="T4" fmla="*/ 629 w 1344"/>
              <a:gd name="T5" fmla="*/ 2216 h 2216"/>
              <a:gd name="T6" fmla="*/ 0 w 1344"/>
              <a:gd name="T7" fmla="*/ 1078 h 2216"/>
              <a:gd name="T8" fmla="*/ 542 w 1344"/>
              <a:gd name="T9" fmla="*/ 0 h 2216"/>
              <a:gd name="T10" fmla="*/ 1344 w 1344"/>
              <a:gd name="T11" fmla="*/ 0 h 2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44" h="2216">
                <a:moveTo>
                  <a:pt x="1344" y="0"/>
                </a:moveTo>
                <a:cubicBezTo>
                  <a:pt x="1344" y="2216"/>
                  <a:pt x="1344" y="2216"/>
                  <a:pt x="1344" y="2216"/>
                </a:cubicBezTo>
                <a:cubicBezTo>
                  <a:pt x="629" y="2216"/>
                  <a:pt x="629" y="2216"/>
                  <a:pt x="629" y="2216"/>
                </a:cubicBezTo>
                <a:cubicBezTo>
                  <a:pt x="251" y="1978"/>
                  <a:pt x="0" y="1557"/>
                  <a:pt x="0" y="1078"/>
                </a:cubicBezTo>
                <a:cubicBezTo>
                  <a:pt x="0" y="637"/>
                  <a:pt x="213" y="245"/>
                  <a:pt x="542" y="0"/>
                </a:cubicBezTo>
                <a:lnTo>
                  <a:pt x="1344" y="0"/>
                </a:lnTo>
                <a:close/>
              </a:path>
            </a:pathLst>
          </a:custGeom>
          <a:solidFill>
            <a:srgbClr val="4F2D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045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D31FC2FC-7237-40E9-A962-0C7A32A2B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57999"/>
            <a:ext cx="9694232" cy="452432"/>
          </a:xfrm>
          <a:prstGeom prst="rect">
            <a:avLst/>
          </a:prstGeom>
        </p:spPr>
        <p:txBody>
          <a:bodyPr wrap="square" tIns="91440" bIns="91440" anchor="ctr" anchorCtr="0">
            <a:noAutofit/>
          </a:bodyPr>
          <a:lstStyle>
            <a:lvl1pPr>
              <a:defRPr sz="2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29661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fidentiality Agreement">
    <p:bg>
      <p:bgPr>
        <a:solidFill>
          <a:srgbClr val="3C2C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">
            <a:extLst>
              <a:ext uri="{FF2B5EF4-FFF2-40B4-BE49-F238E27FC236}">
                <a16:creationId xmlns:a16="http://schemas.microsoft.com/office/drawing/2014/main" id="{AF04C826-8384-73E6-174D-68500116C497}"/>
              </a:ext>
            </a:extLst>
          </p:cNvPr>
          <p:cNvSpPr txBox="1"/>
          <p:nvPr userDrawn="1"/>
        </p:nvSpPr>
        <p:spPr>
          <a:xfrm>
            <a:off x="619125" y="2489139"/>
            <a:ext cx="6427675" cy="12311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l" rtl="0">
              <a:spcBef>
                <a:spcPts val="0"/>
              </a:spcBef>
            </a:pPr>
            <a:r>
              <a:rPr lang="en-US" sz="2000">
                <a:solidFill>
                  <a:srgbClr val="FFFFFF"/>
                </a:solidFill>
                <a:effectLst/>
                <a:latin typeface="+mj-lt"/>
              </a:rPr>
              <a:t>During this presentation, we may disclose confidential information, including client names. This information must not be disclosed to third parties without prior permission from Hexaware.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68AA8B2-22BA-1E73-5320-74E8B7A8EF52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bg2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671A1A-9420-29DA-3891-45A3154B13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CC48F9-23C4-9DF6-3BFC-68640011D939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rgbClr val="CBD0E5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rgbClr val="CBD0E5"/>
              </a:solidFill>
              <a:latin typeface="+mn-lt"/>
              <a:ea typeface="+mn-ea"/>
              <a:cs typeface="Heebo" pitchFamily="2" charset="-79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0FC3176-AD29-0824-9069-1881FE5A72CB}"/>
              </a:ext>
            </a:extLst>
          </p:cNvPr>
          <p:cNvSpPr/>
          <p:nvPr userDrawn="1"/>
        </p:nvSpPr>
        <p:spPr>
          <a:xfrm>
            <a:off x="619125" y="1664200"/>
            <a:ext cx="2491628" cy="52124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ase study: audit transformation for a multinational professional services company">
            <a:extLst>
              <a:ext uri="{FF2B5EF4-FFF2-40B4-BE49-F238E27FC236}">
                <a16:creationId xmlns:a16="http://schemas.microsoft.com/office/drawing/2014/main" id="{92080241-039F-3498-0AD4-3CC3274D0181}"/>
              </a:ext>
            </a:extLst>
          </p:cNvPr>
          <p:cNvSpPr txBox="1"/>
          <p:nvPr userDrawn="1"/>
        </p:nvSpPr>
        <p:spPr>
          <a:xfrm>
            <a:off x="1174085" y="1839902"/>
            <a:ext cx="1846465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xmlns="" val="1"/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r>
              <a:rPr lang="en-US" sz="1100">
                <a:solidFill>
                  <a:schemeClr val="accent1"/>
                </a:solidFill>
                <a:latin typeface="Manrope" pitchFamily="2" charset="0"/>
              </a:rPr>
              <a:t>Confidentiality agreement</a:t>
            </a:r>
            <a:endParaRPr sz="1100">
              <a:solidFill>
                <a:schemeClr val="accent1"/>
              </a:solidFill>
              <a:latin typeface="Manrope" pitchFamily="2" charset="0"/>
            </a:endParaRPr>
          </a:p>
        </p:txBody>
      </p:sp>
      <p:sp>
        <p:nvSpPr>
          <p:cNvPr id="10" name="Triangle 3">
            <a:extLst>
              <a:ext uri="{FF2B5EF4-FFF2-40B4-BE49-F238E27FC236}">
                <a16:creationId xmlns:a16="http://schemas.microsoft.com/office/drawing/2014/main" id="{19AA3BB4-CC9D-A904-5490-8AD1C90B908B}"/>
              </a:ext>
            </a:extLst>
          </p:cNvPr>
          <p:cNvSpPr/>
          <p:nvPr userDrawn="1"/>
        </p:nvSpPr>
        <p:spPr>
          <a:xfrm>
            <a:off x="795056" y="1785000"/>
            <a:ext cx="287806" cy="248109"/>
          </a:xfrm>
          <a:prstGeom prst="triangl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0" tIns="0" rIns="0" bIns="0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j-lt"/>
              <a:ea typeface="+mj-ea"/>
              <a:cs typeface="+mj-cs"/>
              <a:sym typeface="Helvetica Neue Medium"/>
            </a:endParaRPr>
          </a:p>
        </p:txBody>
      </p:sp>
      <p:sp>
        <p:nvSpPr>
          <p:cNvPr id="11" name="Case study: audit transformation for a multinational professional services company">
            <a:extLst>
              <a:ext uri="{FF2B5EF4-FFF2-40B4-BE49-F238E27FC236}">
                <a16:creationId xmlns:a16="http://schemas.microsoft.com/office/drawing/2014/main" id="{4D27650D-B679-158A-89FF-5BC160DB0FE1}"/>
              </a:ext>
            </a:extLst>
          </p:cNvPr>
          <p:cNvSpPr txBox="1"/>
          <p:nvPr userDrawn="1"/>
        </p:nvSpPr>
        <p:spPr>
          <a:xfrm>
            <a:off x="812751" y="1852385"/>
            <a:ext cx="252417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xmlns="" val="1"/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825500" rtl="0" fontAlgn="auto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ctr"/>
            <a:r>
              <a:rPr lang="en-US" sz="1100">
                <a:solidFill>
                  <a:schemeClr val="bg1"/>
                </a:solidFill>
                <a:latin typeface="Manrope" pitchFamily="2" charset="0"/>
              </a:rPr>
              <a:t>!</a:t>
            </a:r>
            <a:endParaRPr sz="1100">
              <a:solidFill>
                <a:schemeClr val="bg1"/>
              </a:solidFill>
              <a:latin typeface="Manrop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5808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9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055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bg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285078"/>
            <a:ext cx="8172450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8409DB-CB7B-4169-181C-8AC7B3B37EC7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rgbClr val="CBD0E5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rgbClr val="CBD0E5"/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3ACF2C0-9E29-E035-4D68-C2C568E0A2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-2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5300" y="567677"/>
            <a:ext cx="914400" cy="122739"/>
          </a:xfrm>
          <a:prstGeom prst="rect">
            <a:avLst/>
          </a:prstGeom>
        </p:spPr>
      </p:pic>
      <p:pic>
        <p:nvPicPr>
          <p:cNvPr id="6" name="Picture 5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4D1398C-DB8A-3403-712A-30DA28FD34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616" y="551710"/>
            <a:ext cx="719931" cy="1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4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055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bg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285078"/>
            <a:ext cx="8172450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5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A3895CC-568A-639E-289C-349CD49C43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8409DB-CB7B-4169-181C-8AC7B3B37EC7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rgbClr val="CBD0E5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rgbClr val="CBD0E5"/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014740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A799FA-C73D-ED39-C551-268E9A6FE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08050"/>
            <a:ext cx="5307012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2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554E1C-C3D3-0AA0-1FE5-E52D3268E9F6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CFC0FC-EE3C-B83B-D888-70A4672B3C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457200"/>
            <a:ext cx="5307012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5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Deck Title/Main Ide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CA7A7A-3891-B974-5E27-533BA0B03D1B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E0C4611E-F017-7C1D-2FF4-E1E27846092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5388" y="0"/>
            <a:ext cx="5916612" cy="6858000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lnSpc>
                <a:spcPct val="100000"/>
              </a:lnSpc>
              <a:buNone/>
              <a:defRPr lang="en-US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en-US"/>
              <a:t>Replace image </a:t>
            </a:r>
            <a:br>
              <a:rPr lang="en-US"/>
            </a:br>
            <a:r>
              <a:rPr lang="en-US"/>
              <a:t>of your choice</a:t>
            </a:r>
          </a:p>
        </p:txBody>
      </p:sp>
    </p:spTree>
    <p:extLst>
      <p:ext uri="{BB962C8B-B14F-4D97-AF65-F5344CB8AC3E}">
        <p14:creationId xmlns:p14="http://schemas.microsoft.com/office/powerpoint/2010/main" val="1008626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6E2A17A-3485-C907-494F-F24A8787D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11583"/>
          <a:stretch/>
        </p:blipFill>
        <p:spPr>
          <a:xfrm>
            <a:off x="0" y="0"/>
            <a:ext cx="12194645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107F6E5-EBA5-8429-F080-320FF6A60F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2844E1E-DB9D-E575-421F-03E8EFDC68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Belfius21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B6F6913-2E05-51BE-E6CE-BAF256A84A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25" y="636678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8DEBE1-E7E4-5E6C-2E12-28CDE9B62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2C06382-B877-A12E-D425-E6B88F3D6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30C7DA6-E057-E57B-A60B-47E291806E6D}"/>
              </a:ext>
            </a:extLst>
          </p:cNvPr>
          <p:cNvSpPr txBox="1">
            <a:spLocks/>
          </p:cNvSpPr>
          <p:nvPr userDrawn="1"/>
        </p:nvSpPr>
        <p:spPr>
          <a:xfrm>
            <a:off x="8772525" y="6518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BE">
              <a:latin typeface="Belfius21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96164"/>
      </p:ext>
    </p:extLst>
  </p:cSld>
  <p:clrMapOvr>
    <a:masterClrMapping/>
  </p:clrMapOvr>
  <p:transition spd="slow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86A95A6-1B2E-CAC9-77D1-B01C45209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B57E4C2-7F73-E57B-0F6D-A4AC9DD4B9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161" y="0"/>
            <a:ext cx="5325035" cy="6858000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4CB5759-D185-65E9-E000-8E4280476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2211A5-6F26-DAAC-C103-4F0AFF66FD7A}"/>
              </a:ext>
            </a:extLst>
          </p:cNvPr>
          <p:cNvSpPr txBox="1"/>
          <p:nvPr userDrawn="1"/>
        </p:nvSpPr>
        <p:spPr>
          <a:xfrm>
            <a:off x="148458" y="6341741"/>
            <a:ext cx="421357" cy="274811"/>
          </a:xfrm>
          <a:prstGeom prst="rect">
            <a:avLst/>
          </a:prstGeom>
          <a:noFill/>
        </p:spPr>
        <p:txBody>
          <a:bodyPr wrap="square" lIns="43661" tIns="43661" rIns="43661" bIns="43661" rtlCol="0">
            <a:noAutofit/>
          </a:bodyPr>
          <a:lstStyle/>
          <a:p>
            <a:pPr algn="ctr"/>
            <a:fld id="{4373FC93-DF7F-4E8A-8ABF-BD5EB5B05BE5}" type="slidenum">
              <a:rPr lang="nl-BE" sz="1213" smtClean="0">
                <a:solidFill>
                  <a:srgbClr val="000000"/>
                </a:solidFill>
                <a:latin typeface="Belfius Montserrat Light" panose="00000400000000000000" pitchFamily="50" charset="0"/>
              </a:rPr>
              <a:pPr algn="ctr"/>
              <a:t>‹#›</a:t>
            </a:fld>
            <a:endParaRPr lang="nl-BE" sz="1213">
              <a:solidFill>
                <a:srgbClr val="000000"/>
              </a:solidFill>
              <a:latin typeface="Belfius Montserrat Light" panose="00000400000000000000" pitchFamily="50" charset="0"/>
            </a:endParaRPr>
          </a:p>
        </p:txBody>
      </p:sp>
      <p:pic>
        <p:nvPicPr>
          <p:cNvPr id="12" name="BDEAAF23-C5AF-4950-8D49-AE40698E09E5">
            <a:extLst>
              <a:ext uri="{FF2B5EF4-FFF2-40B4-BE49-F238E27FC236}">
                <a16:creationId xmlns:a16="http://schemas.microsoft.com/office/drawing/2014/main" id="{70744CAB-2E1F-D71B-E1C4-236034C15B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00" y="6279614"/>
            <a:ext cx="1158242" cy="265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DA75D70-D552-ED23-0175-A3CED9476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650" y="365125"/>
            <a:ext cx="10515600" cy="61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r>
              <a:rPr lang="fr-BE"/>
              <a:t>Content</a:t>
            </a:r>
            <a:endParaRPr lang="nl-BE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0D2028B-0FAB-044E-0403-C445BF46DD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6202"/>
            <a:ext cx="10515600" cy="4830761"/>
          </a:xfrm>
          <a:prstGeom prst="rect">
            <a:avLst/>
          </a:prstGeom>
        </p:spPr>
        <p:txBody>
          <a:bodyPr/>
          <a:lstStyle>
            <a:lvl1pPr marL="291799" indent="-342594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1pPr>
            <a:lvl2pPr marL="482144" indent="-287563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2pPr>
            <a:lvl3pPr marL="723217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3pPr>
            <a:lvl4pPr marL="951588" indent="-169181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4pPr>
            <a:lvl5pPr marL="1433732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50227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42EC6D5-41A7-5B83-4111-0BF338D595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E2CEC214-CD71-4FB3-86D4-ED4D60478DEF">
            <a:extLst>
              <a:ext uri="{FF2B5EF4-FFF2-40B4-BE49-F238E27FC236}">
                <a16:creationId xmlns:a16="http://schemas.microsoft.com/office/drawing/2014/main" id="{1CA35084-1D96-9F89-D71F-D0381B3C96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00" y="6279614"/>
            <a:ext cx="1158242" cy="265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BD39CB-E5AA-159E-C7A6-D0B4670C9D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 rot="895003">
            <a:off x="185540" y="4715405"/>
            <a:ext cx="1879774" cy="16876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28B9FC5-248B-8B6F-E00C-6E5C6516DA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650" y="365125"/>
            <a:ext cx="10515600" cy="61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r>
              <a:rPr lang="fr-BE"/>
              <a:t>Content</a:t>
            </a:r>
            <a:endParaRPr lang="nl-BE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B878FB6-5FFA-9AE8-7918-C24428E83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832ABDA-3152-2E3A-30F0-08772A7DC0DC}"/>
              </a:ext>
            </a:extLst>
          </p:cNvPr>
          <p:cNvSpPr txBox="1">
            <a:spLocks/>
          </p:cNvSpPr>
          <p:nvPr userDrawn="1"/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rgbClr val="898989"/>
                </a:solidFill>
                <a:latin typeface="Belfius21" pitchFamily="2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8DD75-D751-4A60-BCF9-C03EFEE2DD6B}" type="slidenum">
              <a:rPr lang="nl-BE" smtClean="0">
                <a:solidFill>
                  <a:srgbClr val="000000"/>
                </a:solidFill>
                <a:latin typeface="Belfius21" pitchFamily="2" charset="0"/>
              </a:rPr>
              <a:pPr/>
              <a:t>‹#›</a:t>
            </a:fld>
            <a:endParaRPr lang="nl-BE">
              <a:solidFill>
                <a:srgbClr val="000000"/>
              </a:solidFill>
              <a:latin typeface="Belfius21" pitchFamily="2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08A5A27-7379-A104-D2A5-9D5E99ABC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220B775-473B-D250-40F0-13CC16964D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6202"/>
            <a:ext cx="10515600" cy="4830761"/>
          </a:xfrm>
          <a:prstGeom prst="rect">
            <a:avLst/>
          </a:prstGeom>
        </p:spPr>
        <p:txBody>
          <a:bodyPr/>
          <a:lstStyle>
            <a:lvl1pPr marL="291799" indent="-342594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1pPr>
            <a:lvl2pPr marL="482144" indent="-287563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2pPr>
            <a:lvl3pPr marL="723217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3pPr>
            <a:lvl4pPr marL="951588" indent="-169181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4pPr>
            <a:lvl5pPr marL="1433732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7024632"/>
      </p:ext>
    </p:extLst>
  </p:cSld>
  <p:clrMapOvr>
    <a:masterClrMapping/>
  </p:clrMapOvr>
  <p:transition spd="slow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47A8CA-3518-6958-F88D-5407B41E7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2D79CDE-F4F3-6F9A-9775-284C1993F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1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r>
              <a:rPr lang="en-US"/>
              <a:t>Your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454486-6B52-A1B9-FB1E-081FB2A320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6202"/>
            <a:ext cx="10515600" cy="4830761"/>
          </a:xfrm>
          <a:prstGeom prst="rect">
            <a:avLst/>
          </a:prstGeom>
        </p:spPr>
        <p:txBody>
          <a:bodyPr/>
          <a:lstStyle>
            <a:lvl1pPr marL="291799" indent="-342594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1pPr>
            <a:lvl2pPr marL="482144" indent="-287563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2pPr>
            <a:lvl3pPr marL="723217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3pPr>
            <a:lvl4pPr marL="951588" indent="-169181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4pPr>
            <a:lvl5pPr marL="1433732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E48A400-DB90-A0E2-4817-1B33E96639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58D7D0E-D3FC-A200-0482-6CE7D8D34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973E68F-00CA-87F7-1AE9-BD391CD98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30271538"/>
      </p:ext>
    </p:extLst>
  </p:cSld>
  <p:clrMapOvr>
    <a:masterClrMapping/>
  </p:clrMapOvr>
  <p:transition spd="slow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10" descr="Afbeelding met licht&#10;&#10;Automatisch gegenereerde beschrijving">
            <a:extLst>
              <a:ext uri="{FF2B5EF4-FFF2-40B4-BE49-F238E27FC236}">
                <a16:creationId xmlns:a16="http://schemas.microsoft.com/office/drawing/2014/main" id="{A8E67F8F-177E-635C-890C-8B584CDCE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9CEABEB-0F6D-DD2E-A880-1BE0EECF7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r>
              <a:rPr lang="en-US"/>
              <a:t>This is a subtitle slide</a:t>
            </a:r>
            <a:endParaRPr lang="nl-BE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EB9349E2-C338-289A-E23A-4249EEBED5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4976B2D-C458-2CB8-0DEC-8F1DE285FD81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7D5AB78-D1D5-B6A0-CA33-BC08D7A34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33207368"/>
      </p:ext>
    </p:extLst>
  </p:cSld>
  <p:clrMapOvr>
    <a:masterClrMapping/>
  </p:clrMapOvr>
  <p:transition spd="slow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94A687FF-9468-33A4-E9D7-1DDF306AD0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856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5912CA7-178D-BDF7-5E7A-09512597C0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r>
              <a:rPr lang="en-US"/>
              <a:t>This is a subtitle slid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3BAB318C-ED7E-5371-C306-4AA098970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Belfius21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0AABCDF-D61F-CA29-F156-59FAA1CC8E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25" y="636678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55A031-4DE9-D1B1-5026-15C11D1A6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C18CD47-BADF-1D5E-8C0F-38441DB3E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bg1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E87E7DA-0AA7-669F-5155-30CC56B8E445}"/>
              </a:ext>
            </a:extLst>
          </p:cNvPr>
          <p:cNvSpPr txBox="1">
            <a:spLocks/>
          </p:cNvSpPr>
          <p:nvPr userDrawn="1"/>
        </p:nvSpPr>
        <p:spPr>
          <a:xfrm>
            <a:off x="8772525" y="6518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BE">
              <a:latin typeface="Belfius21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26226C-F003-0934-CBCE-22AEB5098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 rot="895003">
            <a:off x="185540" y="4715405"/>
            <a:ext cx="1879774" cy="1687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774867"/>
      </p:ext>
    </p:extLst>
  </p:cSld>
  <p:clrMapOvr>
    <a:masterClrMapping/>
  </p:clrMapOvr>
  <p:transition spd="slow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11" descr="Afbeelding met schermopname, Magenta, hart, roze&#10;&#10;Automatisch gegenereerde beschrijving">
            <a:extLst>
              <a:ext uri="{FF2B5EF4-FFF2-40B4-BE49-F238E27FC236}">
                <a16:creationId xmlns:a16="http://schemas.microsoft.com/office/drawing/2014/main" id="{709CCC9D-CF88-3339-AADC-1EBE0C537F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4722603-33C0-2D7C-7ACD-515E23B992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1507" y="2766218"/>
            <a:ext cx="5512293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se this as </a:t>
            </a:r>
            <a:r>
              <a:rPr lang="en-US" err="1"/>
              <a:t>bulletpoint</a:t>
            </a:r>
            <a:r>
              <a:rPr lang="en-US"/>
              <a:t>/topic</a:t>
            </a:r>
            <a:endParaRPr lang="nl-BE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5BCD507-D290-0F52-8775-6FE104438E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EB50D858-634D-B7A2-ED39-DE6BBE30D40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A6A82E8-A980-C29B-4B67-795175298BA2}"/>
              </a:ext>
            </a:extLst>
          </p:cNvPr>
          <p:cNvSpPr txBox="1">
            <a:spLocks/>
          </p:cNvSpPr>
          <p:nvPr userDrawn="1"/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rgbClr val="898989"/>
                </a:solidFill>
                <a:latin typeface="Belfius21" pitchFamily="2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F8DD75-D751-4A60-BCF9-C03EFEE2DD6B}" type="slidenum">
              <a:rPr lang="nl-BE" smtClean="0">
                <a:solidFill>
                  <a:schemeClr val="bg1"/>
                </a:solidFill>
                <a:latin typeface="Belfius21" pitchFamily="2" charset="0"/>
              </a:rPr>
              <a:pPr/>
              <a:t>‹#›</a:t>
            </a:fld>
            <a:endParaRPr lang="nl-BE">
              <a:solidFill>
                <a:schemeClr val="bg1"/>
              </a:solidFill>
              <a:latin typeface="Belfius21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55879"/>
      </p:ext>
    </p:extLst>
  </p:cSld>
  <p:clrMapOvr>
    <a:masterClrMapping/>
  </p:clrMapOvr>
  <p:transition spd="slow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ABB8A8C-DB96-58A3-1A17-FDF076DA04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D62F7-0348-8D09-8199-111DAE1EFB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91799" indent="-342594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1pPr>
            <a:lvl2pPr marL="482144" indent="-287563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2pPr>
            <a:lvl3pPr marL="723217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3pPr>
            <a:lvl4pPr marL="951588" indent="-169181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4pPr>
            <a:lvl5pPr marL="1433732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735EA8D-CDE2-F54F-135C-BC1BBCABDC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91799" indent="-342594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1pPr>
            <a:lvl2pPr marL="482144" indent="-287563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2pPr>
            <a:lvl3pPr marL="723217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3pPr>
            <a:lvl4pPr marL="951588" indent="-169181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4pPr>
            <a:lvl5pPr marL="1433732" indent="-175532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Belfius21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6A34A16-75B4-7593-75EA-A813E443C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nl-BE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3DD69C0-CA19-2A69-95AF-D48C9179D6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D26C0B1-1B8B-0C61-B3FC-2A9505223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93D144C-B2EF-A538-62AB-BDE66E0BC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159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r>
              <a:rPr lang="en-US"/>
              <a:t>Your title</a:t>
            </a:r>
          </a:p>
        </p:txBody>
      </p:sp>
    </p:spTree>
    <p:extLst>
      <p:ext uri="{BB962C8B-B14F-4D97-AF65-F5344CB8AC3E}">
        <p14:creationId xmlns:p14="http://schemas.microsoft.com/office/powerpoint/2010/main" val="2461345669"/>
      </p:ext>
    </p:extLst>
  </p:cSld>
  <p:clrMapOvr>
    <a:masterClrMapping/>
  </p:clrMapOvr>
  <p:transition spd="slow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B84025-3661-8540-5ABB-95B1CE490F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351DFC-0328-2C8F-AA9A-8C617851B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8AE2991-D50B-D856-61A6-31118487B9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01BD0-E5B2-E187-BAAD-3EF12B712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898989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9E569E5-31BF-53A6-97DA-7F9CEC492A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151" y="493902"/>
            <a:ext cx="10602297" cy="41059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554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BE" sz="1940" b="0" i="0" kern="1200">
                <a:solidFill>
                  <a:srgbClr val="000000"/>
                </a:solidFill>
                <a:latin typeface="Belfius21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554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endParaRPr lang="da-DK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33D58C1-7E09-5513-BCED-6A64B0B02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151" y="1398403"/>
            <a:ext cx="10880415" cy="963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56" b="0" i="0" kern="1200" dirty="0" smtClean="0">
                <a:solidFill>
                  <a:srgbClr val="C30045"/>
                </a:solidFill>
                <a:latin typeface="Belfius21" pitchFamily="2" charset="0"/>
                <a:ea typeface="+mn-ea"/>
                <a:cs typeface="+mn-cs"/>
              </a:defRPr>
            </a:lvl1pPr>
            <a:lvl2pPr>
              <a:defRPr lang="en-US" sz="1456" kern="1200" dirty="0" smtClean="0">
                <a:solidFill>
                  <a:srgbClr val="C30045"/>
                </a:solidFill>
                <a:latin typeface="Montserrat Light" pitchFamily="2" charset="77"/>
                <a:ea typeface="+mn-ea"/>
                <a:cs typeface="+mn-cs"/>
              </a:defRPr>
            </a:lvl2pPr>
            <a:lvl3pPr>
              <a:defRPr lang="en-US" sz="1456" kern="1200" dirty="0" smtClean="0">
                <a:solidFill>
                  <a:srgbClr val="C30045"/>
                </a:solidFill>
                <a:latin typeface="Montserrat Light" pitchFamily="2" charset="77"/>
                <a:ea typeface="+mn-ea"/>
                <a:cs typeface="+mn-cs"/>
              </a:defRPr>
            </a:lvl3pPr>
            <a:lvl4pPr>
              <a:defRPr lang="en-US" sz="1456" kern="1200" dirty="0" smtClean="0">
                <a:solidFill>
                  <a:srgbClr val="C30045"/>
                </a:solidFill>
                <a:latin typeface="Montserrat Light" pitchFamily="2" charset="77"/>
                <a:ea typeface="+mn-ea"/>
                <a:cs typeface="+mn-cs"/>
              </a:defRPr>
            </a:lvl4pPr>
            <a:lvl5pPr>
              <a:defRPr lang="nl-BE" sz="1456" kern="1200" dirty="0">
                <a:solidFill>
                  <a:srgbClr val="C30045"/>
                </a:solidFill>
                <a:latin typeface="Montserrat Light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vel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E180707-7811-D902-5D66-8DD84D40C4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7812" y="2584841"/>
            <a:ext cx="10880413" cy="21265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54478" rtl="0" eaLnBrk="1" latinLnBrk="0" hangingPunct="1">
              <a:lnSpc>
                <a:spcPct val="150000"/>
              </a:lnSpc>
              <a:buFont typeface="Arial" panose="020B0604020202020204" pitchFamily="34" charset="0"/>
              <a:buNone/>
              <a:defRPr lang="en-US" sz="1092" b="0" i="0" kern="1200" dirty="0" smtClean="0">
                <a:solidFill>
                  <a:srgbClr val="000000"/>
                </a:solidFill>
                <a:latin typeface="Belfius21" pitchFamily="2" charset="0"/>
                <a:ea typeface="+mn-ea"/>
                <a:cs typeface="+mn-cs"/>
              </a:defRPr>
            </a:lvl1pPr>
            <a:lvl2pPr marL="0" algn="l" defTabSz="554478" rtl="0" eaLnBrk="1" latinLnBrk="0" hangingPunct="1">
              <a:lnSpc>
                <a:spcPct val="150000"/>
              </a:lnSpc>
              <a:defRPr lang="en-US" sz="1092" kern="1200" dirty="0" smtClean="0">
                <a:solidFill>
                  <a:srgbClr val="535353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0" algn="l" defTabSz="554478" rtl="0" eaLnBrk="1" latinLnBrk="0" hangingPunct="1">
              <a:lnSpc>
                <a:spcPct val="150000"/>
              </a:lnSpc>
              <a:defRPr lang="en-US" sz="1092" kern="1200" dirty="0" smtClean="0">
                <a:solidFill>
                  <a:srgbClr val="535353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0" algn="l" defTabSz="554478" rtl="0" eaLnBrk="1" latinLnBrk="0" hangingPunct="1">
              <a:lnSpc>
                <a:spcPct val="150000"/>
              </a:lnSpc>
              <a:defRPr lang="en-US" sz="1092" kern="1200" dirty="0" smtClean="0">
                <a:solidFill>
                  <a:srgbClr val="535353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0" algn="l" defTabSz="554478" rtl="0" eaLnBrk="1" latinLnBrk="0" hangingPunct="1">
              <a:lnSpc>
                <a:spcPct val="150000"/>
              </a:lnSpc>
              <a:defRPr lang="nl-BE" sz="1092" kern="1200" dirty="0">
                <a:solidFill>
                  <a:srgbClr val="535353"/>
                </a:solidFill>
                <a:latin typeface="Montserrat Light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vel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 Maecenas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dolor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lacinia eros ac fermentum </a:t>
            </a:r>
            <a:r>
              <a:rPr lang="en-US" err="1"/>
              <a:t>consectetur</a:t>
            </a:r>
            <a:r>
              <a:rPr lang="en-US"/>
              <a:t>.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, </a:t>
            </a:r>
            <a:r>
              <a:rPr lang="en-US" err="1"/>
              <a:t>laoreet</a:t>
            </a:r>
            <a:r>
              <a:rPr lang="en-US"/>
              <a:t> porta </a:t>
            </a:r>
            <a:r>
              <a:rPr lang="en-US" err="1"/>
              <a:t>velit</a:t>
            </a:r>
            <a:r>
              <a:rPr lang="en-US"/>
              <a:t>. Duis porta dictum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pulvinar eros dictum </a:t>
            </a:r>
            <a:r>
              <a:rPr lang="en-US" err="1"/>
              <a:t>quis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sed ipsum id </a:t>
            </a:r>
            <a:r>
              <a:rPr lang="en-US" err="1"/>
              <a:t>fringilla</a:t>
            </a:r>
            <a:r>
              <a:rPr lang="en-US"/>
              <a:t>. Nam at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 </a:t>
            </a:r>
            <a:r>
              <a:rPr lang="en-US" err="1"/>
              <a:t>Suspendisse</a:t>
            </a:r>
            <a:r>
              <a:rPr lang="en-US"/>
              <a:t> a cursus </a:t>
            </a:r>
            <a:r>
              <a:rPr lang="en-US" err="1"/>
              <a:t>erat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auctor ligula. Donec </a:t>
            </a:r>
            <a:r>
              <a:rPr lang="en-US" err="1"/>
              <a:t>nulla</a:t>
            </a:r>
            <a:r>
              <a:rPr lang="en-US"/>
              <a:t> mi, </a:t>
            </a:r>
            <a:r>
              <a:rPr lang="en-US" err="1"/>
              <a:t>dapibus</a:t>
            </a:r>
            <a:r>
              <a:rPr lang="en-US"/>
              <a:t> id </a:t>
            </a:r>
            <a:r>
              <a:rPr lang="en-US" err="1"/>
              <a:t>volutpat</a:t>
            </a:r>
            <a:r>
              <a:rPr lang="en-US"/>
              <a:t> vel, </a:t>
            </a:r>
            <a:r>
              <a:rPr lang="en-US" err="1"/>
              <a:t>tincidunt</a:t>
            </a:r>
            <a:r>
              <a:rPr lang="en-US"/>
              <a:t> vel nisi. Cras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at </a:t>
            </a:r>
            <a:r>
              <a:rPr lang="en-US" err="1"/>
              <a:t>sollicitudin</a:t>
            </a:r>
            <a:r>
              <a:rPr lang="en-US"/>
              <a:t> pulvinar. Cra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at, </a:t>
            </a:r>
            <a:r>
              <a:rPr lang="en-US" err="1"/>
              <a:t>congue</a:t>
            </a:r>
            <a:r>
              <a:rPr lang="en-US"/>
              <a:t> in dolor. Nam </a:t>
            </a:r>
            <a:r>
              <a:rPr lang="en-US" err="1"/>
              <a:t>sollicitudin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ac auctor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 ligula, a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orci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2711769"/>
      </p:ext>
    </p:extLst>
  </p:cSld>
  <p:clrMapOvr>
    <a:masterClrMapping/>
  </p:clrMapOvr>
  <p:transition spd="slow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FF6183-778F-3592-463A-B8C70B8972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C240C11-1AE5-E8CF-4CA8-562480528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Belfius21" pitchFamily="2" charset="0"/>
              </a:defRPr>
            </a:lvl1pPr>
          </a:lstStyle>
          <a:p>
            <a:endParaRPr lang="nl-B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3D5181-95CB-4871-463F-68A040DF5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5275" y="6356350"/>
            <a:ext cx="3276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898989"/>
                </a:solidFill>
                <a:latin typeface="Belfius21" pitchFamily="2" charset="0"/>
              </a:defRPr>
            </a:lvl1pPr>
          </a:lstStyle>
          <a:p>
            <a:fld id="{24F8DD75-D751-4A60-BCF9-C03EFEE2DD6B}" type="slidenum">
              <a:rPr lang="nl-BE" smtClean="0"/>
              <a:pPr/>
              <a:t>‹#›</a:t>
            </a:fld>
            <a:endParaRPr lang="nl-BE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B37701D-E26D-9E49-B61E-9C04EF976D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4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Belfius21" pitchFamily="2" charset="0"/>
              </a:defRPr>
            </a:lvl1pPr>
          </a:lstStyle>
          <a:p>
            <a:fld id="{E0E20FF0-C899-413E-AD9F-F450377AED74}" type="datetimeFigureOut">
              <a:rPr lang="nl-BE" smtClean="0"/>
              <a:pPr/>
              <a:t>18/11/2025</a:t>
            </a:fld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1653F-82E3-973D-5423-F7AFF4818C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2779" y="6362281"/>
            <a:ext cx="256228" cy="179360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F6AE4D7-F4EF-9B04-AC4E-7F978D8FF7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9060" y="493902"/>
            <a:ext cx="7912784" cy="41059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554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nl-BE" sz="1940" b="0" i="0" kern="1200">
                <a:solidFill>
                  <a:srgbClr val="000000"/>
                </a:solidFill>
                <a:latin typeface="Belfius21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554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err="1"/>
              <a:t>Lorem</a:t>
            </a:r>
            <a:r>
              <a:rPr lang="da-DK"/>
              <a:t> </a:t>
            </a:r>
            <a:r>
              <a:rPr lang="da-DK" err="1"/>
              <a:t>ipsum</a:t>
            </a:r>
            <a:r>
              <a:rPr lang="da-DK"/>
              <a:t> </a:t>
            </a:r>
            <a:r>
              <a:rPr lang="da-DK" err="1"/>
              <a:t>dolor</a:t>
            </a:r>
            <a:r>
              <a:rPr lang="da-DK"/>
              <a:t> sit </a:t>
            </a:r>
            <a:r>
              <a:rPr lang="da-DK" err="1"/>
              <a:t>amet</a:t>
            </a:r>
            <a:endParaRPr lang="da-DK"/>
          </a:p>
        </p:txBody>
      </p:sp>
      <p:sp>
        <p:nvSpPr>
          <p:cNvPr id="9" name="Rounded Rectangle 18">
            <a:extLst>
              <a:ext uri="{FF2B5EF4-FFF2-40B4-BE49-F238E27FC236}">
                <a16:creationId xmlns:a16="http://schemas.microsoft.com/office/drawing/2014/main" id="{FD527889-548A-2374-BFEB-8B8424DBB240}"/>
              </a:ext>
            </a:extLst>
          </p:cNvPr>
          <p:cNvSpPr/>
          <p:nvPr userDrawn="1"/>
        </p:nvSpPr>
        <p:spPr>
          <a:xfrm>
            <a:off x="646167" y="1229801"/>
            <a:ext cx="3193599" cy="4396299"/>
          </a:xfrm>
          <a:prstGeom prst="roundRect">
            <a:avLst>
              <a:gd name="adj" fmla="val 2821"/>
            </a:avLst>
          </a:prstGeom>
          <a:solidFill>
            <a:srgbClr val="FFFFFF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96">
              <a:latin typeface="Belfius21" pitchFamily="2" charset="0"/>
            </a:endParaRPr>
          </a:p>
        </p:txBody>
      </p:sp>
      <p:sp>
        <p:nvSpPr>
          <p:cNvPr id="10" name="Rounded Rectangle 21">
            <a:extLst>
              <a:ext uri="{FF2B5EF4-FFF2-40B4-BE49-F238E27FC236}">
                <a16:creationId xmlns:a16="http://schemas.microsoft.com/office/drawing/2014/main" id="{8A1A36EE-D862-B50B-1422-5C26C7194398}"/>
              </a:ext>
            </a:extLst>
          </p:cNvPr>
          <p:cNvSpPr/>
          <p:nvPr userDrawn="1"/>
        </p:nvSpPr>
        <p:spPr>
          <a:xfrm>
            <a:off x="4499202" y="1229803"/>
            <a:ext cx="3193599" cy="4396299"/>
          </a:xfrm>
          <a:prstGeom prst="roundRect">
            <a:avLst>
              <a:gd name="adj" fmla="val 2821"/>
            </a:avLst>
          </a:prstGeom>
          <a:solidFill>
            <a:srgbClr val="FFFFFF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96" b="0" i="0">
              <a:latin typeface="Belfius21" pitchFamily="2" charset="0"/>
            </a:endParaRPr>
          </a:p>
        </p:txBody>
      </p:sp>
      <p:sp>
        <p:nvSpPr>
          <p:cNvPr id="11" name="Rounded Rectangle 24">
            <a:extLst>
              <a:ext uri="{FF2B5EF4-FFF2-40B4-BE49-F238E27FC236}">
                <a16:creationId xmlns:a16="http://schemas.microsoft.com/office/drawing/2014/main" id="{B1DF6766-7C1E-DE8B-A08B-DC7140975C0D}"/>
              </a:ext>
            </a:extLst>
          </p:cNvPr>
          <p:cNvSpPr/>
          <p:nvPr userDrawn="1"/>
        </p:nvSpPr>
        <p:spPr>
          <a:xfrm>
            <a:off x="8352237" y="1229803"/>
            <a:ext cx="3193599" cy="4396299"/>
          </a:xfrm>
          <a:prstGeom prst="roundRect">
            <a:avLst>
              <a:gd name="adj" fmla="val 2821"/>
            </a:avLst>
          </a:prstGeom>
          <a:solidFill>
            <a:srgbClr val="FFFFFF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96" b="0" i="0">
              <a:latin typeface="Belfius21" pitchFamily="2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AC9A566-4A35-5D2F-E990-94762D4F42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59476" y="1396587"/>
            <a:ext cx="938216" cy="2916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291799" indent="-342594" algn="ctr">
              <a:buFont typeface="Arial" panose="020B0604020202020204" pitchFamily="34" charset="0"/>
              <a:buChar char="•"/>
              <a:defRPr lang="da-DK" sz="1456" b="0" i="0" kern="1200" dirty="0">
                <a:solidFill>
                  <a:srgbClr val="C30045"/>
                </a:solidFill>
                <a:latin typeface="Belfius21" pitchFamily="2" charset="0"/>
              </a:defRPr>
            </a:lvl1pPr>
          </a:lstStyle>
          <a:p>
            <a:pPr lvl="0" algn="ctr" defTabSz="554478" rtl="0" eaLnBrk="1" latinLnBrk="0" hangingPunct="1"/>
            <a:r>
              <a:rPr lang="da-DK"/>
              <a:t>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E92F37C-0E36-2EBA-48B9-8B950E3EA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6891" y="1395859"/>
            <a:ext cx="938216" cy="2916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291799" indent="-342594" algn="ctr">
              <a:buFont typeface="Arial" panose="020B0604020202020204" pitchFamily="34" charset="0"/>
              <a:buChar char="•"/>
              <a:defRPr lang="da-DK" sz="1456" kern="1200" dirty="0">
                <a:solidFill>
                  <a:srgbClr val="C30045"/>
                </a:solidFill>
                <a:latin typeface="Belfius21" pitchFamily="2" charset="0"/>
              </a:defRPr>
            </a:lvl1pPr>
          </a:lstStyle>
          <a:p>
            <a:pPr lvl="0" algn="ctr" defTabSz="554478" rtl="0" eaLnBrk="1" latinLnBrk="0" hangingPunct="1"/>
            <a:r>
              <a:rPr lang="da-DK"/>
              <a:t>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EE9F347-0F00-4EE1-7035-1CCF40E3B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9927" y="1395859"/>
            <a:ext cx="938216" cy="2916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291799" indent="-342594" algn="ctr">
              <a:buFont typeface="Arial" panose="020B0604020202020204" pitchFamily="34" charset="0"/>
              <a:buChar char="•"/>
              <a:defRPr lang="da-DK" sz="1456" b="0" i="0" kern="1200" dirty="0">
                <a:solidFill>
                  <a:srgbClr val="C30045"/>
                </a:solidFill>
                <a:latin typeface="Belfius21" pitchFamily="2" charset="0"/>
              </a:defRPr>
            </a:lvl1pPr>
          </a:lstStyle>
          <a:p>
            <a:pPr lvl="0" algn="ctr" defTabSz="554478" rtl="0" eaLnBrk="1" latinLnBrk="0" hangingPunct="1"/>
            <a:r>
              <a:rPr lang="da-DK"/>
              <a:t>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E1755C-C7ED-85A3-7640-B42516E28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533" y="1842704"/>
            <a:ext cx="2478865" cy="689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ctr" defTabSz="55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213" b="0" i="0" kern="1200" dirty="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pPr algn="ctr"/>
            <a:r>
              <a:rPr lang="nl-NL" sz="1213" err="1">
                <a:solidFill>
                  <a:srgbClr val="535353"/>
                </a:solidFill>
              </a:rPr>
              <a:t>Lorem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ipsum</a:t>
            </a:r>
            <a:r>
              <a:rPr lang="nl-NL" sz="1213">
                <a:solidFill>
                  <a:srgbClr val="535353"/>
                </a:solidFill>
              </a:rPr>
              <a:t> </a:t>
            </a:r>
            <a:br>
              <a:rPr lang="nl-NL" sz="1213">
                <a:solidFill>
                  <a:srgbClr val="535353"/>
                </a:solidFill>
              </a:rPr>
            </a:br>
            <a:r>
              <a:rPr lang="nl-NL" sz="1213" err="1">
                <a:solidFill>
                  <a:srgbClr val="535353"/>
                </a:solidFill>
              </a:rPr>
              <a:t>dolor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sit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amet</a:t>
            </a:r>
            <a:endParaRPr lang="nl-NL" sz="1213">
              <a:solidFill>
                <a:srgbClr val="535353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2101C9-B521-859A-3204-890049F109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80228" y="1862450"/>
            <a:ext cx="2478865" cy="689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ctr" defTabSz="55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213" b="0" i="0" kern="1200" dirty="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pPr algn="ctr"/>
            <a:r>
              <a:rPr lang="nl-NL" sz="1213" err="1">
                <a:solidFill>
                  <a:srgbClr val="535353"/>
                </a:solidFill>
              </a:rPr>
              <a:t>Lorem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ipsum</a:t>
            </a:r>
            <a:r>
              <a:rPr lang="nl-NL" sz="1213">
                <a:solidFill>
                  <a:srgbClr val="535353"/>
                </a:solidFill>
              </a:rPr>
              <a:t> </a:t>
            </a:r>
            <a:br>
              <a:rPr lang="nl-NL" sz="1213">
                <a:solidFill>
                  <a:srgbClr val="535353"/>
                </a:solidFill>
              </a:rPr>
            </a:br>
            <a:r>
              <a:rPr lang="nl-NL" sz="1213" err="1">
                <a:solidFill>
                  <a:srgbClr val="535353"/>
                </a:solidFill>
              </a:rPr>
              <a:t>dolor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sit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amet</a:t>
            </a:r>
            <a:endParaRPr lang="nl-NL" sz="1213">
              <a:solidFill>
                <a:srgbClr val="535353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03D283-5F59-E2F2-2160-C9C393A3AF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09604" y="1841032"/>
            <a:ext cx="2478865" cy="6896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ctr" defTabSz="55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213" b="0" i="0" kern="1200" dirty="0">
                <a:solidFill>
                  <a:srgbClr val="000000"/>
                </a:solidFill>
                <a:latin typeface="Belfius21" pitchFamily="2" charset="0"/>
              </a:defRPr>
            </a:lvl1pPr>
          </a:lstStyle>
          <a:p>
            <a:pPr algn="ctr"/>
            <a:r>
              <a:rPr lang="nl-NL" sz="1213" err="1">
                <a:solidFill>
                  <a:srgbClr val="535353"/>
                </a:solidFill>
              </a:rPr>
              <a:t>Lorem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ipsum</a:t>
            </a:r>
            <a:r>
              <a:rPr lang="nl-NL" sz="1213">
                <a:solidFill>
                  <a:srgbClr val="535353"/>
                </a:solidFill>
              </a:rPr>
              <a:t> </a:t>
            </a:r>
            <a:br>
              <a:rPr lang="nl-NL" sz="1213">
                <a:solidFill>
                  <a:srgbClr val="535353"/>
                </a:solidFill>
              </a:rPr>
            </a:br>
            <a:r>
              <a:rPr lang="nl-NL" sz="1213" err="1">
                <a:solidFill>
                  <a:srgbClr val="535353"/>
                </a:solidFill>
              </a:rPr>
              <a:t>dolor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sit</a:t>
            </a:r>
            <a:r>
              <a:rPr lang="nl-NL" sz="1213">
                <a:solidFill>
                  <a:srgbClr val="535353"/>
                </a:solidFill>
              </a:rPr>
              <a:t> </a:t>
            </a:r>
            <a:r>
              <a:rPr lang="nl-NL" sz="1213" err="1">
                <a:solidFill>
                  <a:srgbClr val="535353"/>
                </a:solidFill>
              </a:rPr>
              <a:t>amet</a:t>
            </a:r>
            <a:endParaRPr lang="nl-NL" sz="1213">
              <a:solidFill>
                <a:srgbClr val="5353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936806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with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E0C4611E-F017-7C1D-2FF4-E1E27846092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916612" cy="6858000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lnSpc>
                <a:spcPct val="100000"/>
              </a:lnSpc>
              <a:buNone/>
              <a:defRPr lang="en-US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en-US"/>
              <a:t>Replace image </a:t>
            </a:r>
            <a:br>
              <a:rPr lang="en-US"/>
            </a:br>
            <a:r>
              <a:rPr lang="en-US"/>
              <a:t>of your choi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A799FA-C73D-ED39-C551-268E9A6FE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5300" y="908050"/>
            <a:ext cx="5307012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2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554E1C-C3D3-0AA0-1FE5-E52D3268E9F6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07CFC0FC-EE3C-B83B-D888-70A4672B3C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75300" y="457200"/>
            <a:ext cx="5307012" cy="24410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5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/>
              <a:t>Deck Title/Main Ide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CA7A7A-3891-B974-5E27-533BA0B03D1B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814176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- Dark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row of multicolored buildings&#10;&#10;AI-generated content may be incorrect.">
            <a:extLst>
              <a:ext uri="{FF2B5EF4-FFF2-40B4-BE49-F238E27FC236}">
                <a16:creationId xmlns:a16="http://schemas.microsoft.com/office/drawing/2014/main" id="{4ABE5452-5B92-832A-4292-FD447301A9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036" b="296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C2462C8-9A1D-C339-943B-C0154A525246}"/>
              </a:ext>
            </a:extLst>
          </p:cNvPr>
          <p:cNvSpPr/>
          <p:nvPr userDrawn="1"/>
        </p:nvSpPr>
        <p:spPr>
          <a:xfrm>
            <a:off x="7600950" y="0"/>
            <a:ext cx="45910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1830069-19AA-0A6B-3F63-5F450F380FB1}"/>
              </a:ext>
            </a:extLst>
          </p:cNvPr>
          <p:cNvSpPr/>
          <p:nvPr userDrawn="1"/>
        </p:nvSpPr>
        <p:spPr>
          <a:xfrm>
            <a:off x="-762000" y="152400"/>
            <a:ext cx="495300" cy="495300"/>
          </a:xfrm>
          <a:prstGeom prst="ellipse">
            <a:avLst/>
          </a:prstGeom>
          <a:solidFill>
            <a:srgbClr val="C3004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68BE721-BE6A-9B77-F533-13904A73F9A1}"/>
              </a:ext>
            </a:extLst>
          </p:cNvPr>
          <p:cNvSpPr/>
          <p:nvPr userDrawn="1"/>
        </p:nvSpPr>
        <p:spPr>
          <a:xfrm>
            <a:off x="-762000" y="745678"/>
            <a:ext cx="495300" cy="495300"/>
          </a:xfrm>
          <a:prstGeom prst="ellipse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FD1E949-640B-A98A-9F83-A409896BEE32}"/>
              </a:ext>
            </a:extLst>
          </p:cNvPr>
          <p:cNvSpPr/>
          <p:nvPr userDrawn="1"/>
        </p:nvSpPr>
        <p:spPr>
          <a:xfrm>
            <a:off x="-762000" y="1338956"/>
            <a:ext cx="495300" cy="495300"/>
          </a:xfrm>
          <a:prstGeom prst="ellipse">
            <a:avLst/>
          </a:prstGeom>
          <a:solidFill>
            <a:srgbClr val="C3C3C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DD50AA0C-0C3E-74E8-926C-4A0ADFFEE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046" y="2074783"/>
            <a:ext cx="3839897" cy="135421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00000"/>
              </a:lnSpc>
              <a:defRPr lang="en-US" sz="44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86E3662-E9E0-4B10-2306-7D993DBC94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4046" y="3585882"/>
            <a:ext cx="3839897" cy="92333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defRPr lang="en-US" sz="3000" b="1" dirty="0">
                <a:solidFill>
                  <a:schemeClr val="accent2"/>
                </a:solidFill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7241648-4C0F-2BB4-442C-4C9A265870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66810" y="554078"/>
            <a:ext cx="2051043" cy="275309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F56F091-F69A-29D5-9BC6-95975F8EC56C}"/>
              </a:ext>
            </a:extLst>
          </p:cNvPr>
          <p:cNvSpPr txBox="1"/>
          <p:nvPr userDrawn="1"/>
        </p:nvSpPr>
        <p:spPr>
          <a:xfrm>
            <a:off x="647700" y="6594931"/>
            <a:ext cx="27812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800" kern="0" spc="50" baseline="0" dirty="0">
                <a:solidFill>
                  <a:schemeClr val="tx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800" kern="0" spc="50" baseline="0" dirty="0">
              <a:solidFill>
                <a:schemeClr val="tx1"/>
              </a:solidFill>
              <a:latin typeface="+mn-lt"/>
              <a:ea typeface="+mn-ea"/>
              <a:cs typeface="Heebo" pitchFamily="2" charset="-79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CB3CC1-0B2F-AF81-12D7-383F170C1554}"/>
              </a:ext>
            </a:extLst>
          </p:cNvPr>
          <p:cNvGrpSpPr/>
          <p:nvPr userDrawn="1"/>
        </p:nvGrpSpPr>
        <p:grpSpPr>
          <a:xfrm>
            <a:off x="5321220" y="1464737"/>
            <a:ext cx="6870870" cy="5393263"/>
            <a:chOff x="2972820" y="174897"/>
            <a:chExt cx="9962131" cy="7819735"/>
          </a:xfrm>
        </p:grpSpPr>
        <p:pic>
          <p:nvPicPr>
            <p:cNvPr id="11" name="Picture 6">
              <a:extLst>
                <a:ext uri="{FF2B5EF4-FFF2-40B4-BE49-F238E27FC236}">
                  <a16:creationId xmlns:a16="http://schemas.microsoft.com/office/drawing/2014/main" id="{F06B860C-9D8A-18A1-9D0E-673BEA4F74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972820" y="588179"/>
              <a:ext cx="8509839" cy="5681643"/>
            </a:xfrm>
            <a:prstGeom prst="rect">
              <a:avLst/>
            </a:prstGeom>
          </p:spPr>
        </p:pic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948BEAF-2396-4F02-8940-C67AED136D64}"/>
                </a:ext>
              </a:extLst>
            </p:cNvPr>
            <p:cNvSpPr/>
            <p:nvPr userDrawn="1"/>
          </p:nvSpPr>
          <p:spPr>
            <a:xfrm>
              <a:off x="10280827" y="4970172"/>
              <a:ext cx="2654124" cy="3024460"/>
            </a:xfrm>
            <a:custGeom>
              <a:avLst/>
              <a:gdLst/>
              <a:ahLst/>
              <a:cxnLst/>
              <a:rect l="l" t="t" r="r" b="b"/>
              <a:pathLst>
                <a:path w="2654123" h="3024460">
                  <a:moveTo>
                    <a:pt x="0" y="0"/>
                  </a:moveTo>
                  <a:lnTo>
                    <a:pt x="2654123" y="0"/>
                  </a:lnTo>
                  <a:lnTo>
                    <a:pt x="2654123" y="3024460"/>
                  </a:lnTo>
                  <a:lnTo>
                    <a:pt x="0" y="302446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 b="-13033"/>
              </a:stretch>
            </a:blipFill>
          </p:spPr>
          <p:txBody>
            <a:bodyPr/>
            <a:lstStyle/>
            <a:p>
              <a:endParaRPr lang="en-IN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160CEFA-11B1-0A1E-B19C-F5EBC435B1BE}"/>
                </a:ext>
              </a:extLst>
            </p:cNvPr>
            <p:cNvSpPr/>
            <p:nvPr userDrawn="1"/>
          </p:nvSpPr>
          <p:spPr>
            <a:xfrm>
              <a:off x="10797814" y="174897"/>
              <a:ext cx="1071536" cy="1071536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bg1"/>
            </a:solidFill>
          </p:spPr>
          <p:txBody>
            <a:bodyPr/>
            <a:lstStyle/>
            <a:p>
              <a:endParaRPr lang="en-IN"/>
            </a:p>
          </p:txBody>
        </p:sp>
      </p:grpSp>
      <p:pic>
        <p:nvPicPr>
          <p:cNvPr id="7" name="Picture 6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DA9E8C26-A946-C7F6-4A17-678FD7798EC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46" y="521636"/>
            <a:ext cx="1575235" cy="34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08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408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16">
          <p15:clr>
            <a:srgbClr val="FBAE40"/>
          </p15:clr>
        </p15:guide>
        <p15:guide id="5" orient="horz" pos="57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D4F1ABF-39AF-3865-FAC6-4A34809928BC}"/>
              </a:ext>
            </a:extLst>
          </p:cNvPr>
          <p:cNvSpPr txBox="1">
            <a:spLocks/>
          </p:cNvSpPr>
          <p:nvPr userDrawn="1"/>
        </p:nvSpPr>
        <p:spPr>
          <a:xfrm>
            <a:off x="11297543" y="6561495"/>
            <a:ext cx="27057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8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84206AA-7972-C27F-BC74-575FECF31ECB}"/>
              </a:ext>
            </a:extLst>
          </p:cNvPr>
          <p:cNvSpPr txBox="1">
            <a:spLocks/>
          </p:cNvSpPr>
          <p:nvPr userDrawn="1"/>
        </p:nvSpPr>
        <p:spPr>
          <a:xfrm>
            <a:off x="11297543" y="6561495"/>
            <a:ext cx="27057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8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F01E437-C961-8376-DAEE-CDE74CCDD7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300" y="6543446"/>
            <a:ext cx="1186089" cy="15920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5A78D4B-121F-3FF7-45FF-0E03FD1AAD33}"/>
              </a:ext>
            </a:extLst>
          </p:cNvPr>
          <p:cNvSpPr txBox="1"/>
          <p:nvPr userDrawn="1"/>
        </p:nvSpPr>
        <p:spPr>
          <a:xfrm>
            <a:off x="1905000" y="6594931"/>
            <a:ext cx="27812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800" kern="0" spc="50" baseline="0" dirty="0">
                <a:solidFill>
                  <a:schemeClr val="tx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800" kern="0" spc="50" baseline="0" dirty="0">
              <a:solidFill>
                <a:schemeClr val="tx1"/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9692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84206AA-7972-C27F-BC74-575FECF31ECB}"/>
              </a:ext>
            </a:extLst>
          </p:cNvPr>
          <p:cNvSpPr txBox="1">
            <a:spLocks/>
          </p:cNvSpPr>
          <p:nvPr userDrawn="1"/>
        </p:nvSpPr>
        <p:spPr>
          <a:xfrm>
            <a:off x="11586468" y="6569189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F01E437-C961-8376-DAEE-CDE74CCDD7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9477" y="6551141"/>
            <a:ext cx="1186089" cy="15920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5A78D4B-121F-3FF7-45FF-0E03FD1AAD33}"/>
              </a:ext>
            </a:extLst>
          </p:cNvPr>
          <p:cNvSpPr txBox="1"/>
          <p:nvPr userDrawn="1"/>
        </p:nvSpPr>
        <p:spPr>
          <a:xfrm>
            <a:off x="1632177" y="6569189"/>
            <a:ext cx="27812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800" kern="0" spc="50" baseline="0" dirty="0">
                <a:solidFill>
                  <a:schemeClr val="tx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800" kern="0" spc="50" baseline="0" dirty="0">
              <a:solidFill>
                <a:schemeClr val="tx1"/>
              </a:solidFill>
              <a:latin typeface="+mn-lt"/>
              <a:ea typeface="+mn-ea"/>
              <a:cs typeface="Heebo" pitchFamily="2" charset="-79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411348-9E5E-3DF6-A7A7-8C933F17E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476" y="379639"/>
            <a:ext cx="1033303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pic>
        <p:nvPicPr>
          <p:cNvPr id="5" name="Picture 4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FA8CBEBF-25A2-1266-D339-826ED0D010A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6144" y="475002"/>
            <a:ext cx="965635" cy="208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957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usiness handshake">
            <a:extLst>
              <a:ext uri="{FF2B5EF4-FFF2-40B4-BE49-F238E27FC236}">
                <a16:creationId xmlns:a16="http://schemas.microsoft.com/office/drawing/2014/main" id="{C3AA2A65-5F5F-2FB2-F9C5-75B4E82131F8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C0B072B-36B8-C5EE-E0F2-CBF1697F1DE7}"/>
              </a:ext>
            </a:extLst>
          </p:cNvPr>
          <p:cNvSpPr>
            <a:spLocks/>
          </p:cNvSpPr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75000">
                <a:schemeClr val="accent1">
                  <a:lumMod val="75000"/>
                  <a:alpha val="80000"/>
                </a:schemeClr>
              </a:gs>
              <a:gs pos="23000">
                <a:schemeClr val="accent2">
                  <a:lumMod val="75000"/>
                  <a:alpha val="79000"/>
                </a:schemeClr>
              </a:gs>
              <a:gs pos="0">
                <a:schemeClr val="accent2">
                  <a:alpha val="59000"/>
                </a:schemeClr>
              </a:gs>
              <a:gs pos="100000">
                <a:schemeClr val="accent1">
                  <a:lumMod val="50000"/>
                  <a:alpha val="78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8F0E86-E33C-1C9A-B1D6-25E39CA4F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300" y="3013502"/>
            <a:ext cx="7035800" cy="13295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9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574EB1B-5E89-24D3-37E1-BE7FA96AAA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2300" y="1419225"/>
            <a:ext cx="2720680" cy="3651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C02DD7-3F79-893F-6AD2-744970B6D5D6}"/>
              </a:ext>
            </a:extLst>
          </p:cNvPr>
          <p:cNvSpPr txBox="1"/>
          <p:nvPr userDrawn="1"/>
        </p:nvSpPr>
        <p:spPr>
          <a:xfrm>
            <a:off x="647700" y="6594931"/>
            <a:ext cx="27812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800" kern="0" spc="50" baseline="0" dirty="0">
                <a:solidFill>
                  <a:schemeClr val="bg1"/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800" kern="0" spc="50" baseline="0" dirty="0">
              <a:solidFill>
                <a:schemeClr val="bg1"/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979094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BAE40"/>
          </p15:clr>
        </p15:guide>
        <p15:guide id="2" pos="393">
          <p15:clr>
            <a:srgbClr val="FBAE40"/>
          </p15:clr>
        </p15:guide>
        <p15:guide id="3" orient="horz" pos="232">
          <p15:clr>
            <a:srgbClr val="FBAE40"/>
          </p15:clr>
        </p15:guide>
        <p15:guide id="4" pos="732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F71674-9144-08B7-A17A-3B084A2CE560}"/>
              </a:ext>
            </a:extLst>
          </p:cNvPr>
          <p:cNvSpPr txBox="1">
            <a:spLocks/>
          </p:cNvSpPr>
          <p:nvPr userDrawn="1"/>
        </p:nvSpPr>
        <p:spPr>
          <a:xfrm>
            <a:off x="11568112" y="6477001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1A92E810-A64D-864A-E713-F5B7065D4E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484676"/>
            <a:ext cx="9028110" cy="313350"/>
          </a:xfrm>
          <a:prstGeom prst="rect">
            <a:avLst/>
          </a:prstGeom>
        </p:spPr>
        <p:txBody>
          <a:bodyPr wrap="square" lIns="0" tIns="36000" rIns="0" bIns="0" anchor="ctr" anchorCtr="0">
            <a:spAutoFit/>
          </a:bodyPr>
          <a:lstStyle>
            <a:lvl1pPr marL="0" indent="0"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7FFEB-A63D-7128-BD14-C91E8A94E52A}"/>
              </a:ext>
            </a:extLst>
          </p:cNvPr>
          <p:cNvSpPr txBox="1"/>
          <p:nvPr userDrawn="1"/>
        </p:nvSpPr>
        <p:spPr>
          <a:xfrm>
            <a:off x="623888" y="6615500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78ACC39-35BF-28D4-73CD-F43BC69965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-2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5300" y="567677"/>
            <a:ext cx="914400" cy="12273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609F29-1831-73A3-D5DF-B989FC992AF8}"/>
              </a:ext>
            </a:extLst>
          </p:cNvPr>
          <p:cNvCxnSpPr>
            <a:cxnSpLocks/>
          </p:cNvCxnSpPr>
          <p:nvPr userDrawn="1"/>
        </p:nvCxnSpPr>
        <p:spPr>
          <a:xfrm>
            <a:off x="10608424" y="548481"/>
            <a:ext cx="0" cy="1857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804A010-8B3F-E606-87E8-BA0634687A7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616" y="551710"/>
            <a:ext cx="719931" cy="15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514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52D525-7BE7-9B66-3260-55E5C89EF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A59CE-BEEB-49D3-AD64-6179F3D52CFA}" type="datetimeFigureOut">
              <a:rPr lang="en-GB" smtClean="0"/>
              <a:t>18/11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30FAE6-1E79-18A7-454A-EE8FAFA42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73ACA2-AFDF-F911-0B6C-CFD24EB62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27A88-E0CE-4521-BCBC-13F4590CE4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9596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D067813-582A-4E3A-EF66-EF9F8971DF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E124A95-9614-9995-E872-AA3631F0E1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8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C7151D7-4F9C-C74E-F631-9615547882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888" y="2259101"/>
            <a:ext cx="5400675" cy="22288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37160" indent="-13716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lang="en-US" sz="1200" spc="10" baseline="0" dirty="0">
                <a:latin typeface="+mj-lt"/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4699355-78E0-0732-ED34-4CC5E8D01C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8900" y="914401"/>
            <a:ext cx="5753100" cy="4856084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lnSpc>
                <a:spcPct val="100000"/>
              </a:lnSpc>
              <a:buNone/>
              <a:defRPr lang="en-US" dirty="0"/>
            </a:lvl1pPr>
          </a:lstStyle>
          <a:p>
            <a:pPr marL="228600" lvl="0" indent="-228600" algn="ctr"/>
            <a:r>
              <a:rPr lang="en-US"/>
              <a:t>Replace image </a:t>
            </a:r>
            <a:br>
              <a:rPr lang="en-US"/>
            </a:br>
            <a:r>
              <a:rPr lang="en-US"/>
              <a:t>of your choic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0596B1D-988E-E99F-176F-80E435895062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50C99C6E-EBA2-8BAD-9F81-2D0DB0A48C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79445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B8C8614-A292-2DEB-B2B8-6FE164A0B9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9445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3BF58F6-5870-8D4C-28A5-5AB0669CF4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5002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BC94BD8-ABAB-BE04-A141-5BF408AB23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35002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BA14879-AD6D-EF65-00C1-295476E831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90559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2023F31-09AA-E6AB-E198-AAEB6FE7887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90559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C356DA4B-68E0-8CE3-407A-E24FC24779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786278"/>
            <a:ext cx="5300664" cy="17485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ase study: Client description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86F02B4B-DEA1-2B1E-63A6-AE70D545D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391951"/>
            <a:ext cx="52927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lnSpc>
                <a:spcPct val="100000"/>
              </a:lnSpc>
              <a:defRPr lang="en-US" sz="2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ompelling hook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86C7F59-CC8C-1CFD-C8BF-9B5247BFC6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623888" y="457200"/>
            <a:ext cx="5300664" cy="216401"/>
          </a:xfrm>
          <a:prstGeom prst="rect">
            <a:avLst/>
          </a:prstGeom>
        </p:spPr>
        <p:txBody>
          <a:bodyPr wrap="square" lIns="0" tIns="36000" rIns="0" bIns="0" anchor="t" anchorCtr="0">
            <a:noAutofit/>
          </a:bodyPr>
          <a:lstStyle>
            <a:lvl1pPr marL="0" indent="0">
              <a:buNone/>
              <a:defRPr lang="en-US" sz="15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Business Uni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FF26795-5969-0635-78C3-63A2CFC3E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8EA30B7-D9E2-5CAD-6AD0-C13B33252F63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05124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40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  <p15:guide id="6" pos="3795" userDrawn="1">
          <p15:clr>
            <a:srgbClr val="FBAE40"/>
          </p15:clr>
        </p15:guide>
        <p15:guide id="7" pos="405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ith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D067813-582A-4E3A-EF66-EF9F8971DF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/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E124A95-9614-9995-E872-AA3631F0E1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8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C7151D7-4F9C-C74E-F631-9615547882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888" y="2259101"/>
            <a:ext cx="5400675" cy="22288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37160" indent="-13716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lang="en-US" sz="1200" spc="10" baseline="0" dirty="0">
                <a:latin typeface="+mj-lt"/>
              </a:defRPr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4699355-78E0-0732-ED34-4CC5E8D01C8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38900" y="914401"/>
            <a:ext cx="5753100" cy="4856084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lnSpc>
                <a:spcPct val="100000"/>
              </a:lnSpc>
              <a:buNone/>
              <a:defRPr lang="en-US" dirty="0"/>
            </a:lvl1pPr>
          </a:lstStyle>
          <a:p>
            <a:pPr marL="228600" lvl="0" indent="-228600" algn="ctr"/>
            <a:r>
              <a:rPr lang="en-US"/>
              <a:t>Replace image </a:t>
            </a:r>
            <a:br>
              <a:rPr lang="en-US"/>
            </a:br>
            <a:r>
              <a:rPr lang="en-US"/>
              <a:t>of your choic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0596B1D-988E-E99F-176F-80E435895062}"/>
              </a:ext>
            </a:extLst>
          </p:cNvPr>
          <p:cNvSpPr txBox="1">
            <a:spLocks/>
          </p:cNvSpPr>
          <p:nvPr userDrawn="1"/>
        </p:nvSpPr>
        <p:spPr>
          <a:xfrm>
            <a:off x="11567160" y="6453188"/>
            <a:ext cx="2705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4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91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837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83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729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674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620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566" algn="l" defTabSz="6858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39601925-951F-4EA8-91E5-A517312BFAAA}" type="slidenum">
              <a:rPr lang="en-US" sz="900" smtClean="0">
                <a:solidFill>
                  <a:schemeClr val="tx1"/>
                </a:solidFill>
                <a:latin typeface="+mn-lt"/>
              </a:rPr>
              <a:pPr lvl="0" algn="r"/>
              <a:t>‹#›</a:t>
            </a:fld>
            <a:endParaRPr lang="en-US" sz="9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50C99C6E-EBA2-8BAD-9F81-2D0DB0A48C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79445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/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B8C8614-A292-2DEB-B2B8-6FE164A0B9A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9445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3BF58F6-5870-8D4C-28A5-5AB0669CF4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5002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/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BC94BD8-ABAB-BE04-A141-5BF408AB23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35002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BA14879-AD6D-EF65-00C1-295476E831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90559" y="5362574"/>
            <a:ext cx="1234991" cy="428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spc="10" baseline="0" dirty="0"/>
            </a:lvl1pPr>
          </a:lstStyle>
          <a:p>
            <a:pPr marL="228600" lvl="0" indent="-228600"/>
            <a:r>
              <a:rPr lang="en-US"/>
              <a:t>Click to edit 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2023F31-09AA-E6AB-E198-AAEB6FE7887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90559" y="4924425"/>
            <a:ext cx="123499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buNone/>
              <a:defRPr lang="en-US" sz="30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228600" lvl="0" indent="-228600"/>
            <a:r>
              <a:rPr lang="en-US" sz="3000">
                <a:latin typeface="+mj-lt"/>
              </a:rPr>
              <a:t>00%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C356DA4B-68E0-8CE3-407A-E24FC24779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623888" y="786278"/>
            <a:ext cx="5300664" cy="174851"/>
          </a:xfrm>
          <a:prstGeom prst="rect">
            <a:avLst/>
          </a:prstGeom>
        </p:spPr>
        <p:txBody>
          <a:bodyPr wrap="square" lIns="0" tIns="36000" rIns="0" bIns="0" anchor="t" anchorCtr="0">
            <a:spAutoFit/>
          </a:bodyPr>
          <a:lstStyle>
            <a:lvl1pPr marL="0" indent="0"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ase study: Client description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86F02B4B-DEA1-2B1E-63A6-AE70D545D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391951"/>
            <a:ext cx="5292725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2200" dirty="0">
                <a:solidFill>
                  <a:schemeClr val="accent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ompelling hook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86C7F59-CC8C-1CFD-C8BF-9B5247BFC6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623888" y="457200"/>
            <a:ext cx="5300664" cy="216401"/>
          </a:xfrm>
          <a:prstGeom prst="rect">
            <a:avLst/>
          </a:prstGeom>
        </p:spPr>
        <p:txBody>
          <a:bodyPr wrap="square" lIns="0" tIns="36000" rIns="0" bIns="0" anchor="t" anchorCtr="0">
            <a:noAutofit/>
          </a:bodyPr>
          <a:lstStyle>
            <a:lvl1pPr marL="0" indent="0">
              <a:buNone/>
              <a:defRPr lang="en-US" sz="15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Business Uni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FF26795-5969-0635-78C3-63A2CFC3E4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8EA30B7-D9E2-5CAD-6AD0-C13B33252F63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AB14D727-AE35-74B6-7123-2B8ADA30FEC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47412" y="194455"/>
            <a:ext cx="1291871" cy="409853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lnSpc>
                <a:spcPct val="100000"/>
              </a:lnSpc>
              <a:buNone/>
              <a:defRPr lang="en-US" sz="900" dirty="0"/>
            </a:lvl1pPr>
          </a:lstStyle>
          <a:p>
            <a:pPr marL="228600" lvl="0" indent="-228600" algn="ctr"/>
            <a:r>
              <a:rPr lang="en-US"/>
              <a:t>Client logo here.</a:t>
            </a:r>
          </a:p>
        </p:txBody>
      </p:sp>
    </p:spTree>
    <p:extLst>
      <p:ext uri="{BB962C8B-B14F-4D97-AF65-F5344CB8AC3E}">
        <p14:creationId xmlns:p14="http://schemas.microsoft.com/office/powerpoint/2010/main" val="1300655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pos="7287" userDrawn="1">
          <p15:clr>
            <a:srgbClr val="FBAE40"/>
          </p15:clr>
        </p15:guide>
        <p15:guide id="4" orient="horz" pos="240" userDrawn="1">
          <p15:clr>
            <a:srgbClr val="FBAE40"/>
          </p15:clr>
        </p15:guide>
        <p15:guide id="5" orient="horz" pos="572" userDrawn="1">
          <p15:clr>
            <a:srgbClr val="FBAE40"/>
          </p15:clr>
        </p15:guide>
        <p15:guide id="6" pos="3795" userDrawn="1">
          <p15:clr>
            <a:srgbClr val="FBAE40"/>
          </p15:clr>
        </p15:guide>
        <p15:guide id="7" pos="40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023B6BF-6BEC-44B3-16FD-D8AD3240A4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en-US"/>
              <a:t>Replace with brand-approved image </a:t>
            </a:r>
            <a:br>
              <a:rPr lang="en-US"/>
            </a:br>
            <a:r>
              <a:rPr lang="en-US"/>
              <a:t>of your choice from SalesCentr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8F0E86-E33C-1C9A-B1D6-25E39CA4F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857625"/>
            <a:ext cx="8180649" cy="62324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9B85627-C772-5EFB-A063-1191C3E2A3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3274796"/>
            <a:ext cx="7328535" cy="3048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indent="0">
              <a:buNone/>
              <a:defRPr lang="en-US" sz="18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Deck Title/Main Idea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A9B6927-ECC4-B8DD-4D37-1E96DB1E0D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092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 userDrawn="1">
          <p15:clr>
            <a:srgbClr val="FBAE40"/>
          </p15:clr>
        </p15:guide>
        <p15:guide id="2" pos="393" userDrawn="1">
          <p15:clr>
            <a:srgbClr val="FBAE40"/>
          </p15:clr>
        </p15:guide>
        <p15:guide id="3" orient="horz" pos="572" userDrawn="1">
          <p15:clr>
            <a:srgbClr val="FBAE40"/>
          </p15:clr>
        </p15:guide>
        <p15:guide id="4" pos="728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4945255-4D54-BD6F-F948-3B2AF5A407A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en-US"/>
              <a:t>Replace with brand-approved image </a:t>
            </a:r>
            <a:br>
              <a:rPr lang="en-US"/>
            </a:br>
            <a:r>
              <a:rPr lang="en-US"/>
              <a:t>of your choice from SalesCentra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E6E8BE-2736-1222-838E-6E63376063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3039710"/>
            <a:ext cx="9264015" cy="76174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lang="en-US" sz="5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Quotes/Statement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BF5C101-3AED-153B-C82B-8B61A30168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7328" y="345760"/>
            <a:ext cx="914400" cy="12273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2F22B60-3A0B-2802-A96C-D3BBE975C036}"/>
              </a:ext>
            </a:extLst>
          </p:cNvPr>
          <p:cNvSpPr txBox="1"/>
          <p:nvPr userDrawn="1"/>
        </p:nvSpPr>
        <p:spPr>
          <a:xfrm>
            <a:off x="623888" y="6453188"/>
            <a:ext cx="278121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 spc="5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Heebo" pitchFamily="2" charset="-79"/>
              </a:rPr>
              <a:t>© Hexaware Technologies. Confidential briefing. </a:t>
            </a:r>
            <a:endParaRPr lang="en-US" sz="700" kern="0" spc="50" baseline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Heebo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658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93">
          <p15:clr>
            <a:srgbClr val="FBAE40"/>
          </p15:clr>
        </p15:guide>
        <p15:guide id="3" pos="7287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3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31.xml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31.jpe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30.emf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527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678" r:id="rId2"/>
    <p:sldLayoutId id="2147483679" r:id="rId3"/>
    <p:sldLayoutId id="2147483704" r:id="rId4"/>
    <p:sldLayoutId id="2147483705" r:id="rId5"/>
    <p:sldLayoutId id="2147483674" r:id="rId6"/>
    <p:sldLayoutId id="2147483703" r:id="rId7"/>
    <p:sldLayoutId id="2147483657" r:id="rId8"/>
    <p:sldLayoutId id="2147483706" r:id="rId9"/>
    <p:sldLayoutId id="2147483658" r:id="rId10"/>
    <p:sldLayoutId id="2147483707" r:id="rId11"/>
    <p:sldLayoutId id="2147483656" r:id="rId12"/>
    <p:sldLayoutId id="2147483709" r:id="rId13"/>
    <p:sldLayoutId id="2147483712" r:id="rId14"/>
    <p:sldLayoutId id="2147483713" r:id="rId15"/>
    <p:sldLayoutId id="2147483727" r:id="rId16"/>
    <p:sldLayoutId id="2147483729" r:id="rId17"/>
    <p:sldLayoutId id="2147483756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A7E2F8-3413-4716-EFA1-1DA5E26E9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6E8075-4F17-E781-C2D9-466E5D8A47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795F2-FBF7-7B22-488D-596CCA6E32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D54195-9096-48FB-AF5C-7606CEE54A16}" type="datetimeFigureOut">
              <a:rPr lang="en-US" smtClean="0"/>
              <a:t>11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F50042-1E64-0481-A938-9C2F8C46A3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873F0-CB94-8625-BA83-550E9F2005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713EE9-A8CD-47B8-A195-5D6F8D9A3B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11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53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5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4557478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defTabSz="913584"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solidFill>
                <a:srgbClr val="FFFFFF"/>
              </a:solidFill>
              <a:latin typeface="zzzAlternative Regular" panose="020B0604020202020204" charset="0"/>
              <a:ea typeface="ＭＳ Ｐゴシック" panose="020B0600070205080204" pitchFamily="34" charset="-128"/>
              <a:sym typeface="zzzAlternative Regular" panose="020B060402020202020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907264-1CE5-ACF1-DAF9-D585E04B6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alphaModFix/>
          </a:blip>
          <a:srcRect l="11583"/>
          <a:stretch/>
        </p:blipFill>
        <p:spPr>
          <a:xfrm>
            <a:off x="0" y="0"/>
            <a:ext cx="12194645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A5A14E5-8704-A1D4-603D-114E979CD136}"/>
              </a:ext>
            </a:extLst>
          </p:cNvPr>
          <p:cNvSpPr txBox="1">
            <a:spLocks/>
          </p:cNvSpPr>
          <p:nvPr userDrawn="1"/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 defTabSz="608995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bg1"/>
                </a:solidFill>
                <a:latin typeface="Belfius21" pitchFamily="2" charset="0"/>
                <a:ea typeface="ＭＳ Ｐゴシック" charset="-128"/>
                <a:cs typeface="Belfius21 Light" pitchFamily="50" charset="0"/>
              </a:defRPr>
            </a:lvl1pPr>
            <a:lvl2pPr algn="l" defTabSz="608995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C30045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defTabSz="608995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C30045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defTabSz="608995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C30045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defTabSz="608995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C30045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608995" algn="l" defTabSz="608995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C11339"/>
                </a:solidFill>
                <a:latin typeface="Arial" charset="0"/>
                <a:ea typeface="ＭＳ Ｐゴシック" charset="-128"/>
              </a:defRPr>
            </a:lvl6pPr>
            <a:lvl7pPr marL="1218060" algn="l" defTabSz="608995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C11339"/>
                </a:solidFill>
                <a:latin typeface="Arial" charset="0"/>
                <a:ea typeface="ＭＳ Ｐゴシック" charset="-128"/>
              </a:defRPr>
            </a:lvl7pPr>
            <a:lvl8pPr marL="1827077" algn="l" defTabSz="608995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C11339"/>
                </a:solidFill>
                <a:latin typeface="Arial" charset="0"/>
                <a:ea typeface="ＭＳ Ｐゴシック" charset="-128"/>
              </a:defRPr>
            </a:lvl8pPr>
            <a:lvl9pPr marL="2436118" algn="l" defTabSz="608995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C11339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58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</p:sldLayoutIdLst>
  <p:transition spd="slow"/>
  <p:hf hdr="0" ftr="0" dt="0"/>
  <p:txStyles>
    <p:titleStyle>
      <a:lvl1pPr algn="l" defTabSz="608995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C30045"/>
          </a:solidFill>
          <a:latin typeface="Belfius21 Light" pitchFamily="50" charset="0"/>
          <a:ea typeface="ＭＳ Ｐゴシック" charset="-128"/>
          <a:cs typeface="Belfius21 Light" pitchFamily="50" charset="0"/>
        </a:defRPr>
      </a:lvl1pPr>
      <a:lvl2pPr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5pPr>
      <a:lvl6pPr marL="608995"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11339"/>
          </a:solidFill>
          <a:latin typeface="Arial" charset="0"/>
          <a:ea typeface="ＭＳ Ｐゴシック" charset="-128"/>
        </a:defRPr>
      </a:lvl6pPr>
      <a:lvl7pPr marL="1218060"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11339"/>
          </a:solidFill>
          <a:latin typeface="Arial" charset="0"/>
          <a:ea typeface="ＭＳ Ｐゴシック" charset="-128"/>
        </a:defRPr>
      </a:lvl7pPr>
      <a:lvl8pPr marL="1827077"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11339"/>
          </a:solidFill>
          <a:latin typeface="Arial" charset="0"/>
          <a:ea typeface="ＭＳ Ｐゴシック" charset="-128"/>
        </a:defRPr>
      </a:lvl8pPr>
      <a:lvl9pPr marL="2436118" algn="l" defTabSz="608995" rtl="0" eaLnBrk="1" fontAlgn="base" hangingPunct="1">
        <a:spcBef>
          <a:spcPct val="0"/>
        </a:spcBef>
        <a:spcAft>
          <a:spcPct val="0"/>
        </a:spcAft>
        <a:defRPr sz="4000">
          <a:solidFill>
            <a:srgbClr val="C11339"/>
          </a:solidFill>
          <a:latin typeface="Arial" charset="0"/>
          <a:ea typeface="ＭＳ Ｐゴシック" charset="-128"/>
        </a:defRPr>
      </a:lvl9pPr>
    </p:titleStyle>
    <p:bodyStyle>
      <a:lvl1pPr marL="291799" indent="-342594" algn="l" defTabSz="608995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SzPct val="80000"/>
        <a:buFontTx/>
        <a:buBlip>
          <a:blip r:embed="rId17"/>
        </a:buBlip>
        <a:defRPr lang="en-US" sz="2700" kern="1200" dirty="0" smtClean="0">
          <a:solidFill>
            <a:srgbClr val="51626F"/>
          </a:solidFill>
          <a:latin typeface="zzzAlternative Regular" panose="02000803020000020004" pitchFamily="2" charset="0"/>
          <a:ea typeface="ＭＳ Ｐゴシック" charset="-128"/>
          <a:cs typeface="zzzAlternative Regular" panose="02000803020000020004" pitchFamily="2" charset="0"/>
        </a:defRPr>
      </a:lvl1pPr>
      <a:lvl2pPr marL="482144" indent="-287563" algn="l" defTabSz="608995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SzPct val="80000"/>
        <a:buFontTx/>
        <a:buBlip>
          <a:blip r:embed="rId17"/>
        </a:buBlip>
        <a:defRPr lang="en-US" sz="2400" kern="1200" dirty="0" smtClean="0">
          <a:solidFill>
            <a:srgbClr val="51626F"/>
          </a:solidFill>
          <a:latin typeface="zzzAlternative Regular" panose="02000803020000020004" pitchFamily="2" charset="0"/>
          <a:ea typeface="ＭＳ Ｐゴシック"/>
          <a:cs typeface="Arial"/>
        </a:defRPr>
      </a:lvl2pPr>
      <a:lvl3pPr marL="723217" indent="-175532" algn="l" defTabSz="608995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SzPct val="80000"/>
        <a:buFontTx/>
        <a:buBlip>
          <a:blip r:embed="rId17"/>
        </a:buBlip>
        <a:defRPr lang="en-US" sz="2100" kern="1200" dirty="0" smtClean="0">
          <a:solidFill>
            <a:srgbClr val="51626F"/>
          </a:solidFill>
          <a:latin typeface="zzzAlternative Regular" panose="02000803020000020004" pitchFamily="2" charset="0"/>
          <a:ea typeface="ＭＳ Ｐゴシック"/>
          <a:cs typeface="Arial"/>
        </a:defRPr>
      </a:lvl3pPr>
      <a:lvl4pPr marL="951588" indent="-169181" algn="l" defTabSz="608995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SzPct val="80000"/>
        <a:buFontTx/>
        <a:buBlip>
          <a:blip r:embed="rId17"/>
        </a:buBlip>
        <a:defRPr lang="en-US" sz="1900" kern="1200" dirty="0" smtClean="0">
          <a:solidFill>
            <a:srgbClr val="51626F"/>
          </a:solidFill>
          <a:latin typeface="zzzAlternative Regular" panose="02000803020000020004" pitchFamily="2" charset="0"/>
          <a:ea typeface="ＭＳ Ｐゴシック"/>
          <a:cs typeface="Arial"/>
        </a:defRPr>
      </a:lvl4pPr>
      <a:lvl5pPr marL="1433732" indent="-175532" algn="l" defTabSz="608995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SzPct val="80000"/>
        <a:buFontTx/>
        <a:buBlip>
          <a:blip r:embed="rId17"/>
        </a:buBlip>
        <a:defRPr lang="nl-BE" altLang="nl-BE" sz="1600" kern="1200" dirty="0">
          <a:solidFill>
            <a:srgbClr val="51626F"/>
          </a:solidFill>
          <a:latin typeface="zzzAlternative Regular" panose="02000803020000020004" pitchFamily="2" charset="0"/>
          <a:ea typeface="ＭＳ Ｐゴシック"/>
          <a:cs typeface="Arial"/>
        </a:defRPr>
      </a:lvl5pPr>
      <a:lvl6pPr marL="3349608" indent="-304496" algn="l" defTabSz="608995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8650" indent="-304496" algn="l" defTabSz="608995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7668" indent="-304496" algn="l" defTabSz="608995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685" indent="-304496" algn="l" defTabSz="608995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95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060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077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118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112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107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147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170" algn="l" defTabSz="6089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041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6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jpeg"/><Relationship Id="rId18" Type="http://schemas.openxmlformats.org/officeDocument/2006/relationships/image" Target="../media/image66.jpe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12" Type="http://schemas.openxmlformats.org/officeDocument/2006/relationships/image" Target="../media/image60.jpeg"/><Relationship Id="rId17" Type="http://schemas.openxmlformats.org/officeDocument/2006/relationships/image" Target="../media/image65.png"/><Relationship Id="rId2" Type="http://schemas.openxmlformats.org/officeDocument/2006/relationships/image" Target="../media/image50.png"/><Relationship Id="rId16" Type="http://schemas.openxmlformats.org/officeDocument/2006/relationships/image" Target="../media/image64.png"/><Relationship Id="rId20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jpeg"/><Relationship Id="rId15" Type="http://schemas.openxmlformats.org/officeDocument/2006/relationships/image" Target="../media/image63.png"/><Relationship Id="rId10" Type="http://schemas.openxmlformats.org/officeDocument/2006/relationships/image" Target="../media/image58.jpeg"/><Relationship Id="rId19" Type="http://schemas.openxmlformats.org/officeDocument/2006/relationships/image" Target="../media/image67.jpeg"/><Relationship Id="rId4" Type="http://schemas.openxmlformats.org/officeDocument/2006/relationships/image" Target="../media/image52.jpeg"/><Relationship Id="rId9" Type="http://schemas.openxmlformats.org/officeDocument/2006/relationships/image" Target="../media/image57.jpeg"/><Relationship Id="rId14" Type="http://schemas.openxmlformats.org/officeDocument/2006/relationships/image" Target="../media/image6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C526B73B-242A-247A-21E0-6181F1BADFB4}"/>
              </a:ext>
            </a:extLst>
          </p:cNvPr>
          <p:cNvSpPr/>
          <p:nvPr/>
        </p:nvSpPr>
        <p:spPr>
          <a:xfrm>
            <a:off x="254164" y="3903112"/>
            <a:ext cx="1113913" cy="146169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7D33293-A743-EB9F-A6F2-FCF099275988}"/>
              </a:ext>
            </a:extLst>
          </p:cNvPr>
          <p:cNvSpPr/>
          <p:nvPr/>
        </p:nvSpPr>
        <p:spPr>
          <a:xfrm>
            <a:off x="202538" y="2467319"/>
            <a:ext cx="1121196" cy="105686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0914E6-BBED-943C-8C42-927BF9B18AC2}"/>
              </a:ext>
            </a:extLst>
          </p:cNvPr>
          <p:cNvSpPr/>
          <p:nvPr/>
        </p:nvSpPr>
        <p:spPr>
          <a:xfrm>
            <a:off x="1556688" y="2423563"/>
            <a:ext cx="1087331" cy="11558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E9D3210-971E-A625-2B17-A303031E5B67}"/>
              </a:ext>
            </a:extLst>
          </p:cNvPr>
          <p:cNvSpPr/>
          <p:nvPr/>
        </p:nvSpPr>
        <p:spPr>
          <a:xfrm>
            <a:off x="2281926" y="925698"/>
            <a:ext cx="1759094" cy="43523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Onsite Co-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ordinat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/ Data analys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C331F2-A17E-24F6-45D3-1365CA77F14D}"/>
              </a:ext>
            </a:extLst>
          </p:cNvPr>
          <p:cNvSpPr txBox="1"/>
          <p:nvPr/>
        </p:nvSpPr>
        <p:spPr>
          <a:xfrm>
            <a:off x="1658639" y="113726"/>
            <a:ext cx="164374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Onsit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D67733D-613B-1BD7-9742-1DE0F2EC958E}"/>
              </a:ext>
            </a:extLst>
          </p:cNvPr>
          <p:cNvCxnSpPr>
            <a:cxnSpLocks/>
          </p:cNvCxnSpPr>
          <p:nvPr/>
        </p:nvCxnSpPr>
        <p:spPr bwMode="auto">
          <a:xfrm>
            <a:off x="4302020" y="256606"/>
            <a:ext cx="10026" cy="648921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D4F101E-AE63-1CE8-F570-A654F4A66B84}"/>
              </a:ext>
            </a:extLst>
          </p:cNvPr>
          <p:cNvSpPr txBox="1"/>
          <p:nvPr/>
        </p:nvSpPr>
        <p:spPr>
          <a:xfrm>
            <a:off x="6371007" y="113726"/>
            <a:ext cx="164374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 Offsho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CB7F0F-27B0-1C47-BE8D-BCD33C10520D}"/>
              </a:ext>
            </a:extLst>
          </p:cNvPr>
          <p:cNvSpPr/>
          <p:nvPr/>
        </p:nvSpPr>
        <p:spPr>
          <a:xfrm>
            <a:off x="1099386" y="588043"/>
            <a:ext cx="1044741" cy="10046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8965B9-248D-1777-60C5-DB8F33FCAAC6}"/>
              </a:ext>
            </a:extLst>
          </p:cNvPr>
          <p:cNvSpPr txBox="1"/>
          <p:nvPr/>
        </p:nvSpPr>
        <p:spPr>
          <a:xfrm>
            <a:off x="1100533" y="1677778"/>
            <a:ext cx="1052060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Dayan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CDEBF7-B34F-E8F7-1A73-41050E3D5568}"/>
              </a:ext>
            </a:extLst>
          </p:cNvPr>
          <p:cNvSpPr/>
          <p:nvPr/>
        </p:nvSpPr>
        <p:spPr>
          <a:xfrm>
            <a:off x="2929900" y="2463257"/>
            <a:ext cx="1105051" cy="121635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9FC859-3FF2-8674-1F72-6E036AC3B574}"/>
              </a:ext>
            </a:extLst>
          </p:cNvPr>
          <p:cNvSpPr/>
          <p:nvPr/>
        </p:nvSpPr>
        <p:spPr>
          <a:xfrm>
            <a:off x="1537785" y="3854897"/>
            <a:ext cx="1131633" cy="153533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9C7BB6C-B6D7-5D37-ED2B-43597EBD66EF}"/>
              </a:ext>
            </a:extLst>
          </p:cNvPr>
          <p:cNvSpPr/>
          <p:nvPr/>
        </p:nvSpPr>
        <p:spPr>
          <a:xfrm>
            <a:off x="196509" y="3439314"/>
            <a:ext cx="1112732" cy="2685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Lotha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5CF392F-21FA-95D2-D3DC-B531642EB478}"/>
              </a:ext>
            </a:extLst>
          </p:cNvPr>
          <p:cNvSpPr/>
          <p:nvPr/>
        </p:nvSpPr>
        <p:spPr>
          <a:xfrm>
            <a:off x="1556687" y="3466144"/>
            <a:ext cx="1087332" cy="23471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Piet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BB7104-1A67-3DCD-4EF0-322E9883A6DD}"/>
              </a:ext>
            </a:extLst>
          </p:cNvPr>
          <p:cNvSpPr/>
          <p:nvPr/>
        </p:nvSpPr>
        <p:spPr>
          <a:xfrm>
            <a:off x="2930292" y="3457677"/>
            <a:ext cx="1097358" cy="2347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3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Karthik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2AEDA0-7A9A-4AEB-F110-BCE537B28770}"/>
              </a:ext>
            </a:extLst>
          </p:cNvPr>
          <p:cNvSpPr/>
          <p:nvPr/>
        </p:nvSpPr>
        <p:spPr>
          <a:xfrm>
            <a:off x="1605548" y="5057143"/>
            <a:ext cx="1061932" cy="30244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Bart Van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7C92266C-7618-4D0B-7B80-0FC5959A5F91}"/>
              </a:ext>
            </a:extLst>
          </p:cNvPr>
          <p:cNvSpPr/>
          <p:nvPr/>
        </p:nvSpPr>
        <p:spPr bwMode="auto">
          <a:xfrm>
            <a:off x="90591" y="491543"/>
            <a:ext cx="4040611" cy="54978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2F5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32F1D1C7-5CBC-F4B3-813A-E84DA73C4F7A}"/>
              </a:ext>
            </a:extLst>
          </p:cNvPr>
          <p:cNvSpPr/>
          <p:nvPr/>
        </p:nvSpPr>
        <p:spPr>
          <a:xfrm>
            <a:off x="6368429" y="1694447"/>
            <a:ext cx="1039529" cy="115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D7424F67-582E-DC9F-1929-7FB7055D0DCC}"/>
              </a:ext>
            </a:extLst>
          </p:cNvPr>
          <p:cNvSpPr txBox="1"/>
          <p:nvPr/>
        </p:nvSpPr>
        <p:spPr>
          <a:xfrm>
            <a:off x="6407293" y="2634990"/>
            <a:ext cx="957498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Ashok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E7ED0592-80E9-D1A0-1DB5-612FCDBC66D0}"/>
              </a:ext>
            </a:extLst>
          </p:cNvPr>
          <p:cNvSpPr/>
          <p:nvPr/>
        </p:nvSpPr>
        <p:spPr>
          <a:xfrm>
            <a:off x="4518388" y="3013362"/>
            <a:ext cx="1082502" cy="11066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40BCEA38-5835-C9C9-E416-999384CA44CA}"/>
              </a:ext>
            </a:extLst>
          </p:cNvPr>
          <p:cNvSpPr/>
          <p:nvPr/>
        </p:nvSpPr>
        <p:spPr>
          <a:xfrm>
            <a:off x="5857087" y="3013835"/>
            <a:ext cx="1054280" cy="11259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218C3149-0537-E7FC-3950-FB27A964D304}"/>
              </a:ext>
            </a:extLst>
          </p:cNvPr>
          <p:cNvSpPr/>
          <p:nvPr/>
        </p:nvSpPr>
        <p:spPr>
          <a:xfrm>
            <a:off x="7120402" y="3010865"/>
            <a:ext cx="1040170" cy="11188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9AFB071C-E62B-6484-8835-5B6BA8E1FEA7}"/>
              </a:ext>
            </a:extLst>
          </p:cNvPr>
          <p:cNvSpPr/>
          <p:nvPr/>
        </p:nvSpPr>
        <p:spPr>
          <a:xfrm>
            <a:off x="8373692" y="3007894"/>
            <a:ext cx="1047225" cy="9566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8AA8DE7A-784B-0B9A-069E-3DC4248A7FB8}"/>
              </a:ext>
            </a:extLst>
          </p:cNvPr>
          <p:cNvSpPr/>
          <p:nvPr/>
        </p:nvSpPr>
        <p:spPr>
          <a:xfrm>
            <a:off x="4522473" y="4169833"/>
            <a:ext cx="1068391" cy="11682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EFE7F1D4-B616-A1EF-C87A-35257464DEFF}"/>
              </a:ext>
            </a:extLst>
          </p:cNvPr>
          <p:cNvSpPr/>
          <p:nvPr/>
        </p:nvSpPr>
        <p:spPr>
          <a:xfrm>
            <a:off x="7127329" y="5564604"/>
            <a:ext cx="1040298" cy="11777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7FB8AB09-616D-EA69-1F98-66E1DF7B54A2}"/>
              </a:ext>
            </a:extLst>
          </p:cNvPr>
          <p:cNvSpPr/>
          <p:nvPr/>
        </p:nvSpPr>
        <p:spPr>
          <a:xfrm>
            <a:off x="5854116" y="4195083"/>
            <a:ext cx="1061336" cy="115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C90E5EB1-0D3E-CFFF-C8C7-0F38300125CE}"/>
              </a:ext>
            </a:extLst>
          </p:cNvPr>
          <p:cNvSpPr/>
          <p:nvPr/>
        </p:nvSpPr>
        <p:spPr>
          <a:xfrm>
            <a:off x="7120402" y="4190738"/>
            <a:ext cx="1040300" cy="1149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C2F6C092-5C6E-3206-EAE4-D29EDB9D229E}"/>
              </a:ext>
            </a:extLst>
          </p:cNvPr>
          <p:cNvSpPr/>
          <p:nvPr/>
        </p:nvSpPr>
        <p:spPr>
          <a:xfrm>
            <a:off x="4553665" y="5359648"/>
            <a:ext cx="1056086" cy="13553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92C9EC9C-C3A3-FED5-3776-ED3E44F61E23}"/>
              </a:ext>
            </a:extLst>
          </p:cNvPr>
          <p:cNvSpPr/>
          <p:nvPr/>
        </p:nvSpPr>
        <p:spPr>
          <a:xfrm>
            <a:off x="5853986" y="5561503"/>
            <a:ext cx="1047225" cy="11713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D1B7441-B625-1BB1-08FD-603F44F61A61}"/>
              </a:ext>
            </a:extLst>
          </p:cNvPr>
          <p:cNvSpPr txBox="1"/>
          <p:nvPr/>
        </p:nvSpPr>
        <p:spPr>
          <a:xfrm>
            <a:off x="4556373" y="6510644"/>
            <a:ext cx="104216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Manoj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256D941-EA7F-997D-1320-A57EC7D10F45}"/>
              </a:ext>
            </a:extLst>
          </p:cNvPr>
          <p:cNvSpPr txBox="1"/>
          <p:nvPr/>
        </p:nvSpPr>
        <p:spPr>
          <a:xfrm>
            <a:off x="4546978" y="5398735"/>
            <a:ext cx="1061455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Test Lea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FF"/>
              </a:highlight>
              <a:uLnTx/>
              <a:uFillTx/>
              <a:latin typeface="Manrope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9C575939-C6F5-E922-C89F-943BE256E785}"/>
              </a:ext>
            </a:extLst>
          </p:cNvPr>
          <p:cNvSpPr txBox="1"/>
          <p:nvPr/>
        </p:nvSpPr>
        <p:spPr>
          <a:xfrm>
            <a:off x="5859794" y="6497388"/>
            <a:ext cx="1038206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Shubh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ADDE239F-F22B-7236-8BCF-C4BCEC58F675}"/>
              </a:ext>
            </a:extLst>
          </p:cNvPr>
          <p:cNvSpPr txBox="1"/>
          <p:nvPr/>
        </p:nvSpPr>
        <p:spPr>
          <a:xfrm>
            <a:off x="4556374" y="3903412"/>
            <a:ext cx="104216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Prita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3E8EED19-9E67-6050-A268-17C0443B3FF7}"/>
              </a:ext>
            </a:extLst>
          </p:cNvPr>
          <p:cNvSpPr txBox="1"/>
          <p:nvPr/>
        </p:nvSpPr>
        <p:spPr>
          <a:xfrm>
            <a:off x="5859925" y="3893645"/>
            <a:ext cx="1051670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Poojith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6CB2CF33-8B08-1FEC-FF9F-864212F24F0F}"/>
              </a:ext>
            </a:extLst>
          </p:cNvPr>
          <p:cNvSpPr txBox="1"/>
          <p:nvPr/>
        </p:nvSpPr>
        <p:spPr>
          <a:xfrm>
            <a:off x="7123111" y="3893646"/>
            <a:ext cx="104229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Chandan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446C800F-63EA-FF79-4D69-88B67E19572F}"/>
              </a:ext>
            </a:extLst>
          </p:cNvPr>
          <p:cNvSpPr txBox="1"/>
          <p:nvPr/>
        </p:nvSpPr>
        <p:spPr>
          <a:xfrm>
            <a:off x="8366503" y="3894297"/>
            <a:ext cx="1052060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Yaswanth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1020BC1-56EF-1D66-573C-F6556E7CFC57}"/>
              </a:ext>
            </a:extLst>
          </p:cNvPr>
          <p:cNvSpPr txBox="1"/>
          <p:nvPr/>
        </p:nvSpPr>
        <p:spPr>
          <a:xfrm>
            <a:off x="4546348" y="5105585"/>
            <a:ext cx="104216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Subash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529D128-EB2D-AEA4-0BA9-3B9AC4F7A8CC}"/>
              </a:ext>
            </a:extLst>
          </p:cNvPr>
          <p:cNvSpPr txBox="1"/>
          <p:nvPr/>
        </p:nvSpPr>
        <p:spPr>
          <a:xfrm>
            <a:off x="7123111" y="6500749"/>
            <a:ext cx="104229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Satwika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2E86CB2C-7AA1-63DE-F260-FF8F9461E3F0}"/>
              </a:ext>
            </a:extLst>
          </p:cNvPr>
          <p:cNvSpPr/>
          <p:nvPr/>
        </p:nvSpPr>
        <p:spPr>
          <a:xfrm>
            <a:off x="2930292" y="2253352"/>
            <a:ext cx="1114948" cy="2446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Spark</a:t>
            </a:r>
            <a:r>
              <a:rPr kumimoji="0" lang="nl-B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 Consultant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E882B73C-67DD-D040-7A6E-092BFD527519}"/>
              </a:ext>
            </a:extLst>
          </p:cNvPr>
          <p:cNvSpPr/>
          <p:nvPr/>
        </p:nvSpPr>
        <p:spPr>
          <a:xfrm>
            <a:off x="1556687" y="2252959"/>
            <a:ext cx="1087332" cy="23471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1200" dirty="0" err="1">
                <a:solidFill>
                  <a:srgbClr val="FFFFFF"/>
                </a:solidFill>
                <a:latin typeface="Manrope"/>
              </a:rPr>
              <a:t>Pyspark</a:t>
            </a:r>
            <a:r>
              <a:rPr lang="nl-BE" sz="1200" dirty="0">
                <a:solidFill>
                  <a:srgbClr val="FFFFFF"/>
                </a:solidFill>
                <a:latin typeface="Manrope"/>
              </a:rPr>
              <a:t> Lead</a:t>
            </a:r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F0D6AE7-CB3E-D54A-9325-E4898F0E5BE5}"/>
              </a:ext>
            </a:extLst>
          </p:cNvPr>
          <p:cNvSpPr/>
          <p:nvPr/>
        </p:nvSpPr>
        <p:spPr>
          <a:xfrm>
            <a:off x="196507" y="2262985"/>
            <a:ext cx="1112732" cy="24746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Architec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7FF57B7-DBF4-D32E-5403-955034F388B5}"/>
              </a:ext>
            </a:extLst>
          </p:cNvPr>
          <p:cNvSpPr txBox="1"/>
          <p:nvPr/>
        </p:nvSpPr>
        <p:spPr>
          <a:xfrm>
            <a:off x="5861839" y="5131019"/>
            <a:ext cx="1031024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Swetha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03084660-791B-7D76-9209-23E05BAD1B1C}"/>
              </a:ext>
            </a:extLst>
          </p:cNvPr>
          <p:cNvSpPr txBox="1"/>
          <p:nvPr/>
        </p:nvSpPr>
        <p:spPr>
          <a:xfrm>
            <a:off x="7149292" y="5104973"/>
            <a:ext cx="953413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highlight>
                  <a:srgbClr val="0000FF"/>
                </a:highlight>
                <a:latin typeface="Manrope"/>
              </a:rPr>
              <a:t>Akshay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9778E991-8D99-CCF8-8E59-3444897F56BC}"/>
              </a:ext>
            </a:extLst>
          </p:cNvPr>
          <p:cNvSpPr/>
          <p:nvPr/>
        </p:nvSpPr>
        <p:spPr>
          <a:xfrm>
            <a:off x="4408070" y="2924175"/>
            <a:ext cx="6398794" cy="243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199" name="Right Brace 198">
            <a:extLst>
              <a:ext uri="{FF2B5EF4-FFF2-40B4-BE49-F238E27FC236}">
                <a16:creationId xmlns:a16="http://schemas.microsoft.com/office/drawing/2014/main" id="{AFFD4A60-20EB-498C-8250-4561A31F7E60}"/>
              </a:ext>
            </a:extLst>
          </p:cNvPr>
          <p:cNvSpPr/>
          <p:nvPr/>
        </p:nvSpPr>
        <p:spPr>
          <a:xfrm>
            <a:off x="10790320" y="3037114"/>
            <a:ext cx="258392" cy="22040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05E289DC-29BB-81EC-2816-D9D6268DC4BB}"/>
              </a:ext>
            </a:extLst>
          </p:cNvPr>
          <p:cNvSpPr txBox="1"/>
          <p:nvPr/>
        </p:nvSpPr>
        <p:spPr>
          <a:xfrm>
            <a:off x="11049000" y="3671065"/>
            <a:ext cx="1139275" cy="8818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Spark Consulta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(Develop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Team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01" name="Right Brace 200">
            <a:extLst>
              <a:ext uri="{FF2B5EF4-FFF2-40B4-BE49-F238E27FC236}">
                <a16:creationId xmlns:a16="http://schemas.microsoft.com/office/drawing/2014/main" id="{96DC8412-A5FA-4B52-E854-02AAFAB9D597}"/>
              </a:ext>
            </a:extLst>
          </p:cNvPr>
          <p:cNvSpPr/>
          <p:nvPr/>
        </p:nvSpPr>
        <p:spPr>
          <a:xfrm>
            <a:off x="8595418" y="5645389"/>
            <a:ext cx="402484" cy="10650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CA468141-5DA1-B24F-A27A-6ACA87D65E29}"/>
              </a:ext>
            </a:extLst>
          </p:cNvPr>
          <p:cNvSpPr txBox="1"/>
          <p:nvPr/>
        </p:nvSpPr>
        <p:spPr>
          <a:xfrm>
            <a:off x="9123660" y="5889171"/>
            <a:ext cx="127248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Test Consulta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/>
              </a:rPr>
              <a:t>(Test Team)</a:t>
            </a:r>
          </a:p>
        </p:txBody>
      </p:sp>
      <p:pic>
        <p:nvPicPr>
          <p:cNvPr id="204" name="Picture 203" descr="A person with a beard smiling&#10;&#10;AI-generated content may be incorrect.">
            <a:extLst>
              <a:ext uri="{FF2B5EF4-FFF2-40B4-BE49-F238E27FC236}">
                <a16:creationId xmlns:a16="http://schemas.microsoft.com/office/drawing/2014/main" id="{8F5F7A2E-7852-FEDE-CA9F-EA6975491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4164" y="5677152"/>
            <a:ext cx="888333" cy="827674"/>
          </a:xfrm>
          <a:prstGeom prst="rect">
            <a:avLst/>
          </a:prstGeom>
        </p:spPr>
      </p:pic>
      <p:sp>
        <p:nvSpPr>
          <p:cNvPr id="206" name="Rectangle 205">
            <a:extLst>
              <a:ext uri="{FF2B5EF4-FFF2-40B4-BE49-F238E27FC236}">
                <a16:creationId xmlns:a16="http://schemas.microsoft.com/office/drawing/2014/main" id="{1D9C3392-B8AF-175C-3E7E-4621667FFDD7}"/>
              </a:ext>
            </a:extLst>
          </p:cNvPr>
          <p:cNvSpPr/>
          <p:nvPr/>
        </p:nvSpPr>
        <p:spPr bwMode="auto">
          <a:xfrm>
            <a:off x="4420251" y="2970711"/>
            <a:ext cx="6395221" cy="240877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2F5F"/>
              </a:solidFill>
              <a:effectLst/>
              <a:uLnTx/>
              <a:uFillTx/>
              <a:latin typeface="Manrope"/>
            </a:endParaRPr>
          </a:p>
        </p:txBody>
      </p:sp>
      <p:pic>
        <p:nvPicPr>
          <p:cNvPr id="208" name="Picture 207" descr="A person with glasses and a beard&#10;&#10;AI-generated content may be incorrect.">
            <a:extLst>
              <a:ext uri="{FF2B5EF4-FFF2-40B4-BE49-F238E27FC236}">
                <a16:creationId xmlns:a16="http://schemas.microsoft.com/office/drawing/2014/main" id="{B2F3606F-778E-562D-1511-59AC36D65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0" y="3047998"/>
            <a:ext cx="822159" cy="802107"/>
          </a:xfrm>
          <a:prstGeom prst="rect">
            <a:avLst/>
          </a:prstGeom>
        </p:spPr>
      </p:pic>
      <p:pic>
        <p:nvPicPr>
          <p:cNvPr id="209" name="Picture 208" descr="A person in a suit&#10;&#10;AI-generated content may be incorrect.">
            <a:extLst>
              <a:ext uri="{FF2B5EF4-FFF2-40B4-BE49-F238E27FC236}">
                <a16:creationId xmlns:a16="http://schemas.microsoft.com/office/drawing/2014/main" id="{BFB8CC90-7EBB-BE41-6D3B-E68D2C86E2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678530" y="3083845"/>
            <a:ext cx="809624" cy="790573"/>
          </a:xfrm>
          <a:prstGeom prst="rect">
            <a:avLst/>
          </a:prstGeom>
        </p:spPr>
      </p:pic>
      <p:pic>
        <p:nvPicPr>
          <p:cNvPr id="210" name="Picture 209" descr="A person in a suit and tie&#10;&#10;AI-generated content may be incorrect.">
            <a:extLst>
              <a:ext uri="{FF2B5EF4-FFF2-40B4-BE49-F238E27FC236}">
                <a16:creationId xmlns:a16="http://schemas.microsoft.com/office/drawing/2014/main" id="{BD909DCF-165C-F0C2-107B-D8B7C444EB5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4369" t="-2173" r="-1824" b="3031"/>
          <a:stretch/>
        </p:blipFill>
        <p:spPr>
          <a:xfrm>
            <a:off x="5923506" y="5566167"/>
            <a:ext cx="864540" cy="844922"/>
          </a:xfrm>
          <a:prstGeom prst="rect">
            <a:avLst/>
          </a:prstGeom>
        </p:spPr>
      </p:pic>
      <p:sp>
        <p:nvSpPr>
          <p:cNvPr id="212" name="Rectangle 211">
            <a:extLst>
              <a:ext uri="{FF2B5EF4-FFF2-40B4-BE49-F238E27FC236}">
                <a16:creationId xmlns:a16="http://schemas.microsoft.com/office/drawing/2014/main" id="{501F84FE-5CC1-339F-C287-8BC5002720FD}"/>
              </a:ext>
            </a:extLst>
          </p:cNvPr>
          <p:cNvSpPr/>
          <p:nvPr/>
        </p:nvSpPr>
        <p:spPr>
          <a:xfrm>
            <a:off x="7493382" y="934164"/>
            <a:ext cx="1759094" cy="2748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Program Manager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123493C-48F4-99C5-BB37-0FA6658267DD}"/>
              </a:ext>
            </a:extLst>
          </p:cNvPr>
          <p:cNvSpPr/>
          <p:nvPr/>
        </p:nvSpPr>
        <p:spPr>
          <a:xfrm>
            <a:off x="7493382" y="2097216"/>
            <a:ext cx="1759094" cy="2748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Technical Architect</a:t>
            </a:r>
          </a:p>
        </p:txBody>
      </p:sp>
      <p:pic>
        <p:nvPicPr>
          <p:cNvPr id="3" name="Picture 2" descr="A person smiling with his hands in his pockets&#10;&#10;AI-generated content may be incorrect.">
            <a:extLst>
              <a:ext uri="{FF2B5EF4-FFF2-40B4-BE49-F238E27FC236}">
                <a16:creationId xmlns:a16="http://schemas.microsoft.com/office/drawing/2014/main" id="{3B0D6481-203B-E9E1-4708-767F823C696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3968" t="11688" r="17036" b="37432"/>
          <a:stretch/>
        </p:blipFill>
        <p:spPr>
          <a:xfrm>
            <a:off x="5947439" y="3058025"/>
            <a:ext cx="873321" cy="8272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FBDE60-BABA-3B9B-4550-619A148EA20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-317" b="13777"/>
          <a:stretch/>
        </p:blipFill>
        <p:spPr>
          <a:xfrm>
            <a:off x="8507336" y="3057896"/>
            <a:ext cx="772603" cy="8145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0C006-E81E-6604-2653-E80DF272334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0037" t="14194" r="9949" b="31156"/>
          <a:stretch/>
        </p:blipFill>
        <p:spPr>
          <a:xfrm>
            <a:off x="7236253" y="5615050"/>
            <a:ext cx="806365" cy="8647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FD404A-4D1F-55C7-8191-0228C3B0350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7693" t="5379" r="302" b="28155"/>
          <a:stretch/>
        </p:blipFill>
        <p:spPr>
          <a:xfrm>
            <a:off x="4657503" y="4255332"/>
            <a:ext cx="846996" cy="8209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0C6083-537E-BE10-99D1-F94AA5B09EB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3472" t="14166" r="24243" b="28478"/>
          <a:stretch/>
        </p:blipFill>
        <p:spPr>
          <a:xfrm>
            <a:off x="5955714" y="4238711"/>
            <a:ext cx="822744" cy="84175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F4A18B3-CA46-E66F-E764-61CB263588D9}"/>
              </a:ext>
            </a:extLst>
          </p:cNvPr>
          <p:cNvSpPr/>
          <p:nvPr/>
        </p:nvSpPr>
        <p:spPr>
          <a:xfrm>
            <a:off x="9606929" y="3017661"/>
            <a:ext cx="1051052" cy="11290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440B93-F6B7-05AA-2CC1-17DABD38A06F}"/>
              </a:ext>
            </a:extLst>
          </p:cNvPr>
          <p:cNvSpPr txBox="1"/>
          <p:nvPr/>
        </p:nvSpPr>
        <p:spPr>
          <a:xfrm>
            <a:off x="9609637" y="3909870"/>
            <a:ext cx="982918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Chara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5364358-B40C-3429-BE4D-3583B284D9AA}"/>
              </a:ext>
            </a:extLst>
          </p:cNvPr>
          <p:cNvSpPr/>
          <p:nvPr/>
        </p:nvSpPr>
        <p:spPr>
          <a:xfrm>
            <a:off x="8372239" y="4173661"/>
            <a:ext cx="1052587" cy="11729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pic>
        <p:nvPicPr>
          <p:cNvPr id="12" name="Picture 11" descr="A person with a beard and mustache&#10;&#10;AI-generated content may be incorrect.">
            <a:extLst>
              <a:ext uri="{FF2B5EF4-FFF2-40B4-BE49-F238E27FC236}">
                <a16:creationId xmlns:a16="http://schemas.microsoft.com/office/drawing/2014/main" id="{A60969DA-6D57-FDA3-B415-5F699D011E8E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4953" r="3405" b="15380"/>
          <a:stretch/>
        </p:blipFill>
        <p:spPr>
          <a:xfrm>
            <a:off x="3056195" y="2493432"/>
            <a:ext cx="854396" cy="982790"/>
          </a:xfrm>
          <a:prstGeom prst="rect">
            <a:avLst/>
          </a:prstGeom>
        </p:spPr>
      </p:pic>
      <p:pic>
        <p:nvPicPr>
          <p:cNvPr id="15" name="Picture 1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7AFCE03-81A4-CDB5-1AD7-896274EEB2E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09376" y="3054247"/>
            <a:ext cx="828675" cy="828675"/>
          </a:xfrm>
          <a:prstGeom prst="rect">
            <a:avLst/>
          </a:prstGeom>
        </p:spPr>
      </p:pic>
      <p:pic>
        <p:nvPicPr>
          <p:cNvPr id="7" name="Picture 6" descr="A person in a red shirt&#10;&#10;AI-generated content may be incorrect.">
            <a:extLst>
              <a:ext uri="{FF2B5EF4-FFF2-40B4-BE49-F238E27FC236}">
                <a16:creationId xmlns:a16="http://schemas.microsoft.com/office/drawing/2014/main" id="{6526BC4F-3725-AB8C-6208-C9BAB180DA10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3848" t="865" r="2342" b="5252"/>
          <a:stretch/>
        </p:blipFill>
        <p:spPr>
          <a:xfrm>
            <a:off x="6446320" y="1786334"/>
            <a:ext cx="883370" cy="85673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57049CC-48A9-C3BF-C513-B7D8600A6D3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06245" y="652449"/>
            <a:ext cx="840580" cy="880755"/>
          </a:xfrm>
          <a:prstGeom prst="rect">
            <a:avLst/>
          </a:prstGeom>
        </p:spPr>
      </p:pic>
      <p:pic>
        <p:nvPicPr>
          <p:cNvPr id="23" name="Picture 22" descr="A person smiling for the camera&#10;&#10;AI-generated content may be incorrect.">
            <a:extLst>
              <a:ext uri="{FF2B5EF4-FFF2-40B4-BE49-F238E27FC236}">
                <a16:creationId xmlns:a16="http://schemas.microsoft.com/office/drawing/2014/main" id="{3D151353-54C4-A5E1-2B24-B2DD3F56C9E3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t="-3660" r="-255" b="-6621"/>
          <a:stretch/>
        </p:blipFill>
        <p:spPr>
          <a:xfrm>
            <a:off x="304945" y="2516562"/>
            <a:ext cx="882256" cy="928054"/>
          </a:xfrm>
          <a:prstGeom prst="rect">
            <a:avLst/>
          </a:prstGeom>
        </p:spPr>
      </p:pic>
      <p:pic>
        <p:nvPicPr>
          <p:cNvPr id="33" name="Picture 32" descr="A person smiling for the camera&#10;&#10;AI-generated content may be incorrect.">
            <a:extLst>
              <a:ext uri="{FF2B5EF4-FFF2-40B4-BE49-F238E27FC236}">
                <a16:creationId xmlns:a16="http://schemas.microsoft.com/office/drawing/2014/main" id="{2FF89C72-D8F5-BAD0-72CC-A0F3144899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49914" y="2568327"/>
            <a:ext cx="908214" cy="86170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B7F5404-D3A3-186B-025C-DA6BEE993363}"/>
              </a:ext>
            </a:extLst>
          </p:cNvPr>
          <p:cNvSpPr/>
          <p:nvPr/>
        </p:nvSpPr>
        <p:spPr>
          <a:xfrm>
            <a:off x="1580148" y="3847780"/>
            <a:ext cx="1087332" cy="23471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Data </a:t>
            </a:r>
            <a:r>
              <a:rPr kumimoji="0" lang="nl-B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Analyst</a:t>
            </a:r>
          </a:p>
        </p:txBody>
      </p:sp>
      <p:pic>
        <p:nvPicPr>
          <p:cNvPr id="36" name="Picture 35" descr="A person wearing glasses and a black shirt&#10;&#10;AI-generated content may be incorrect.">
            <a:extLst>
              <a:ext uri="{FF2B5EF4-FFF2-40B4-BE49-F238E27FC236}">
                <a16:creationId xmlns:a16="http://schemas.microsoft.com/office/drawing/2014/main" id="{DB4305F4-4D05-E8B8-40EE-02DEB7B6EAC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671892" y="4114285"/>
            <a:ext cx="891390" cy="941241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3929AF8-6A76-B643-9F65-A928C4D5DC7F}"/>
              </a:ext>
            </a:extLst>
          </p:cNvPr>
          <p:cNvCxnSpPr/>
          <p:nvPr/>
        </p:nvCxnSpPr>
        <p:spPr>
          <a:xfrm flipH="1">
            <a:off x="6879773" y="1517072"/>
            <a:ext cx="5937" cy="162297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D7FC0E9F-620B-6E34-DFFF-4656F646E8CB}"/>
              </a:ext>
            </a:extLst>
          </p:cNvPr>
          <p:cNvSpPr/>
          <p:nvPr/>
        </p:nvSpPr>
        <p:spPr>
          <a:xfrm>
            <a:off x="255537" y="5127890"/>
            <a:ext cx="1087332" cy="23471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Jean-Louis</a:t>
            </a:r>
            <a:endParaRPr kumimoji="0" lang="nl-BE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nrope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E8A6DD4-AFE7-8B97-A149-25D99C5717A6}"/>
              </a:ext>
            </a:extLst>
          </p:cNvPr>
          <p:cNvSpPr/>
          <p:nvPr/>
        </p:nvSpPr>
        <p:spPr>
          <a:xfrm>
            <a:off x="253136" y="3847054"/>
            <a:ext cx="1112732" cy="21777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Data </a:t>
            </a:r>
            <a:r>
              <a:rPr kumimoji="0" lang="nl-B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nrope"/>
              </a:rPr>
              <a:t>Analys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CD260D-B277-575A-5227-6F8F8A47299E}"/>
              </a:ext>
            </a:extLst>
          </p:cNvPr>
          <p:cNvSpPr txBox="1"/>
          <p:nvPr/>
        </p:nvSpPr>
        <p:spPr>
          <a:xfrm>
            <a:off x="8434561" y="5123185"/>
            <a:ext cx="928923" cy="2154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highlight>
                  <a:srgbClr val="0000FF"/>
                </a:highlight>
                <a:latin typeface="Manrope"/>
              </a:rPr>
              <a:t>Haley</a:t>
            </a:r>
          </a:p>
        </p:txBody>
      </p:sp>
      <p:pic>
        <p:nvPicPr>
          <p:cNvPr id="13" name="Picture 12" descr="A person with a mustache and beard wearing a suit&#10;&#10;AI-generated content may be incorrect.">
            <a:extLst>
              <a:ext uri="{FF2B5EF4-FFF2-40B4-BE49-F238E27FC236}">
                <a16:creationId xmlns:a16="http://schemas.microsoft.com/office/drawing/2014/main" id="{4595FE0B-9708-696C-888A-569C4288588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186413" y="4259385"/>
            <a:ext cx="886711" cy="820615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F75C117-7D59-7D20-0AAB-9CA35B4947AD}"/>
              </a:ext>
            </a:extLst>
          </p:cNvPr>
          <p:cNvSpPr/>
          <p:nvPr/>
        </p:nvSpPr>
        <p:spPr>
          <a:xfrm>
            <a:off x="6361257" y="422276"/>
            <a:ext cx="1041400" cy="1176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erson in a grey shirt&#10;&#10;AI-generated content may be incorrect.">
            <a:extLst>
              <a:ext uri="{FF2B5EF4-FFF2-40B4-BE49-F238E27FC236}">
                <a16:creationId xmlns:a16="http://schemas.microsoft.com/office/drawing/2014/main" id="{92615012-8F12-A2A7-9185-044CC8E6D96F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7965" t="3447" r="2363" b="11068"/>
          <a:stretch/>
        </p:blipFill>
        <p:spPr>
          <a:xfrm>
            <a:off x="6442404" y="542815"/>
            <a:ext cx="876417" cy="782498"/>
          </a:xfrm>
          <a:prstGeom prst="rect">
            <a:avLst/>
          </a:prstGeom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B748EE4F-C43B-106C-9604-B635B14A0BC2}"/>
              </a:ext>
            </a:extLst>
          </p:cNvPr>
          <p:cNvSpPr txBox="1"/>
          <p:nvPr/>
        </p:nvSpPr>
        <p:spPr>
          <a:xfrm>
            <a:off x="6452726" y="1362398"/>
            <a:ext cx="892622" cy="2000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FF"/>
                </a:highlight>
                <a:uLnTx/>
                <a:uFillTx/>
                <a:latin typeface="Manrope"/>
              </a:rPr>
              <a:t>Gautham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00FF"/>
              </a:highlight>
              <a:uLnTx/>
              <a:uFillTx/>
              <a:latin typeface="Manrope"/>
            </a:endParaRPr>
          </a:p>
        </p:txBody>
      </p:sp>
      <p:pic>
        <p:nvPicPr>
          <p:cNvPr id="27" name="Picture 26" descr="A person smiling at camera&#10;&#10;AI-generated content may be incorrect.">
            <a:extLst>
              <a:ext uri="{FF2B5EF4-FFF2-40B4-BE49-F238E27FC236}">
                <a16:creationId xmlns:a16="http://schemas.microsoft.com/office/drawing/2014/main" id="{06CF59D3-9416-3DBF-57E4-0A9E8AC2609C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 l="12340" t="7050" r="18298" b="23450"/>
          <a:stretch>
            <a:fillRect/>
          </a:stretch>
        </p:blipFill>
        <p:spPr>
          <a:xfrm>
            <a:off x="8431159" y="4235756"/>
            <a:ext cx="932073" cy="91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927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87A561E-441E-9B5B-02F1-03A6BD600140}"/>
              </a:ext>
            </a:extLst>
          </p:cNvPr>
          <p:cNvSpPr txBox="1"/>
          <p:nvPr/>
        </p:nvSpPr>
        <p:spPr>
          <a:xfrm>
            <a:off x="737965" y="211299"/>
            <a:ext cx="676419" cy="21544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N" sz="1400" dirty="0"/>
              <a:t>Pune</a:t>
            </a:r>
            <a:endParaRPr lang="nl-BE" sz="14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8C8993-9899-40A2-E6F2-871C41825A5C}"/>
              </a:ext>
            </a:extLst>
          </p:cNvPr>
          <p:cNvSpPr txBox="1"/>
          <p:nvPr/>
        </p:nvSpPr>
        <p:spPr>
          <a:xfrm>
            <a:off x="3728025" y="2850140"/>
            <a:ext cx="1021977" cy="21544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N" sz="1400" dirty="0"/>
              <a:t>Chennai</a:t>
            </a:r>
            <a:endParaRPr lang="nl-BE" sz="14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8202-2693-9833-F216-805115665B76}"/>
              </a:ext>
            </a:extLst>
          </p:cNvPr>
          <p:cNvSpPr txBox="1"/>
          <p:nvPr/>
        </p:nvSpPr>
        <p:spPr>
          <a:xfrm>
            <a:off x="7242129" y="211299"/>
            <a:ext cx="1021977" cy="21544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IN" sz="1400" dirty="0"/>
              <a:t>Brussels</a:t>
            </a:r>
            <a:endParaRPr lang="nl-BE" sz="1400" dirty="0" err="1"/>
          </a:p>
        </p:txBody>
      </p:sp>
      <p:pic>
        <p:nvPicPr>
          <p:cNvPr id="3" name="Picture 2" descr="Two men standing in front of a white counter&#10;&#10;AI-generated content may be incorrect.">
            <a:extLst>
              <a:ext uri="{FF2B5EF4-FFF2-40B4-BE49-F238E27FC236}">
                <a16:creationId xmlns:a16="http://schemas.microsoft.com/office/drawing/2014/main" id="{24377091-344A-07C0-EDD3-116E17DA37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1316" r="39783" b="5707"/>
          <a:stretch>
            <a:fillRect/>
          </a:stretch>
        </p:blipFill>
        <p:spPr>
          <a:xfrm>
            <a:off x="206534" y="574879"/>
            <a:ext cx="1728039" cy="2493941"/>
          </a:xfrm>
          <a:prstGeom prst="rect">
            <a:avLst/>
          </a:prstGeom>
        </p:spPr>
      </p:pic>
      <p:pic>
        <p:nvPicPr>
          <p:cNvPr id="4" name="Picture 3" descr="A group of people posing for a photo&#10;&#10;AI-generated content may be incorrect.">
            <a:extLst>
              <a:ext uri="{FF2B5EF4-FFF2-40B4-BE49-F238E27FC236}">
                <a16:creationId xmlns:a16="http://schemas.microsoft.com/office/drawing/2014/main" id="{848DAD3B-A031-C46D-FAAC-AA5BE5C675B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042" r="-50" b="300"/>
          <a:stretch>
            <a:fillRect/>
          </a:stretch>
        </p:blipFill>
        <p:spPr>
          <a:xfrm>
            <a:off x="1918229" y="3217927"/>
            <a:ext cx="4635867" cy="3368582"/>
          </a:xfrm>
          <a:prstGeom prst="rect">
            <a:avLst/>
          </a:prstGeom>
        </p:spPr>
      </p:pic>
      <p:pic>
        <p:nvPicPr>
          <p:cNvPr id="2" name="Picture 1" descr="A person standing in a mall&#10;&#10;AI-generated content may be incorrect.">
            <a:extLst>
              <a:ext uri="{FF2B5EF4-FFF2-40B4-BE49-F238E27FC236}">
                <a16:creationId xmlns:a16="http://schemas.microsoft.com/office/drawing/2014/main" id="{E83727C4-8DA7-A7FE-82E4-838D413C23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5381" y="3208325"/>
            <a:ext cx="2398347" cy="3370384"/>
          </a:xfrm>
          <a:prstGeom prst="rect">
            <a:avLst/>
          </a:prstGeom>
        </p:spPr>
      </p:pic>
      <p:sp>
        <p:nvSpPr>
          <p:cNvPr id="5" name="TextBox 25">
            <a:extLst>
              <a:ext uri="{FF2B5EF4-FFF2-40B4-BE49-F238E27FC236}">
                <a16:creationId xmlns:a16="http://schemas.microsoft.com/office/drawing/2014/main" id="{CDD61F91-DA02-B340-994C-852D79C12B6F}"/>
              </a:ext>
            </a:extLst>
          </p:cNvPr>
          <p:cNvSpPr txBox="1"/>
          <p:nvPr/>
        </p:nvSpPr>
        <p:spPr>
          <a:xfrm>
            <a:off x="9727873" y="2848448"/>
            <a:ext cx="1119669" cy="21544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1400" dirty="0"/>
              <a:t>Bangalore</a:t>
            </a:r>
            <a:endParaRPr lang="nl-BE" sz="1400" dirty="0" err="1"/>
          </a:p>
        </p:txBody>
      </p:sp>
    </p:spTree>
    <p:extLst>
      <p:ext uri="{BB962C8B-B14F-4D97-AF65-F5344CB8AC3E}">
        <p14:creationId xmlns:p14="http://schemas.microsoft.com/office/powerpoint/2010/main" val="2690750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j2iFPRzSLiwPcnOPw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Hexaware Master">
  <a:themeElements>
    <a:clrScheme name="Custom 4">
      <a:dk1>
        <a:srgbClr val="000000"/>
      </a:dk1>
      <a:lt1>
        <a:srgbClr val="FFFFFF"/>
      </a:lt1>
      <a:dk2>
        <a:srgbClr val="07125E"/>
      </a:dk2>
      <a:lt2>
        <a:srgbClr val="FFFFFF"/>
      </a:lt2>
      <a:accent1>
        <a:srgbClr val="3C2CDA"/>
      </a:accent1>
      <a:accent2>
        <a:srgbClr val="1D86FF"/>
      </a:accent2>
      <a:accent3>
        <a:srgbClr val="14CBDE"/>
      </a:accent3>
      <a:accent4>
        <a:srgbClr val="07125E"/>
      </a:accent4>
      <a:accent5>
        <a:srgbClr val="8088A7"/>
      </a:accent5>
      <a:accent6>
        <a:srgbClr val="EA9D00"/>
      </a:accent6>
      <a:hlink>
        <a:srgbClr val="3C2CDA"/>
      </a:hlink>
      <a:folHlink>
        <a:srgbClr val="14CBDE"/>
      </a:folHlink>
    </a:clrScheme>
    <a:fontScheme name="Hexaware">
      <a:majorFont>
        <a:latin typeface="Manrope Light"/>
        <a:ea typeface="Helvetica Neue Medium"/>
        <a:cs typeface="Helvetica Neue Medium"/>
      </a:majorFont>
      <a:minorFont>
        <a:latin typeface="Manrop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ght_Corporate Template.pptx" id="{41E689D6-C531-47CC-AFF0-309785A80631}" vid="{C5795010-44E4-4FE2-851A-4FC5D2C485C8}"/>
    </a:ext>
  </a:extLst>
</a:theme>
</file>

<file path=ppt/theme/theme2.xml><?xml version="1.0" encoding="utf-8"?>
<a:theme xmlns:a="http://schemas.openxmlformats.org/drawingml/2006/main" name="Scottish widows">
  <a:themeElements>
    <a:clrScheme name="Agea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45A2A"/>
      </a:accent1>
      <a:accent2>
        <a:srgbClr val="064F94"/>
      </a:accent2>
      <a:accent3>
        <a:srgbClr val="4AC5D2"/>
      </a:accent3>
      <a:accent4>
        <a:srgbClr val="F9B64F"/>
      </a:accent4>
      <a:accent5>
        <a:srgbClr val="82C83E"/>
      </a:accent5>
      <a:accent6>
        <a:srgbClr val="3E2EE0"/>
      </a:accent6>
      <a:hlink>
        <a:srgbClr val="BFBFBF"/>
      </a:hlink>
      <a:folHlink>
        <a:srgbClr val="BFBFB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Hexaware Master">
  <a:themeElements>
    <a:clrScheme name="Hexaware">
      <a:dk1>
        <a:srgbClr val="02051C"/>
      </a:dk1>
      <a:lt1>
        <a:srgbClr val="FFFFFF"/>
      </a:lt1>
      <a:dk2>
        <a:srgbClr val="07125E"/>
      </a:dk2>
      <a:lt2>
        <a:srgbClr val="FFFFFF"/>
      </a:lt2>
      <a:accent1>
        <a:srgbClr val="3C2DDA"/>
      </a:accent1>
      <a:accent2>
        <a:srgbClr val="1D86FF"/>
      </a:accent2>
      <a:accent3>
        <a:srgbClr val="14CBDE"/>
      </a:accent3>
      <a:accent4>
        <a:srgbClr val="07125E"/>
      </a:accent4>
      <a:accent5>
        <a:srgbClr val="8088A7"/>
      </a:accent5>
      <a:accent6>
        <a:srgbClr val="FF6300"/>
      </a:accent6>
      <a:hlink>
        <a:srgbClr val="3C2DDA"/>
      </a:hlink>
      <a:folHlink>
        <a:srgbClr val="14CBDE"/>
      </a:folHlink>
    </a:clrScheme>
    <a:fontScheme name="Hexaware">
      <a:majorFont>
        <a:latin typeface="Manrope Light"/>
        <a:ea typeface="Helvetica Neue Medium"/>
        <a:cs typeface="Helvetica Neue Medium"/>
      </a:majorFont>
      <a:minorFont>
        <a:latin typeface="Manrop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ark_Corporate Template.pptx" id="{0DE496D9-96E7-4561-826E-A79144D83BB8}" vid="{7132E963-DE00-4AC0-86D2-3969C5A95D72}"/>
    </a:ext>
  </a:extLst>
</a:theme>
</file>

<file path=ppt/theme/theme4.xml><?xml version="1.0" encoding="utf-8"?>
<a:theme xmlns:a="http://schemas.openxmlformats.org/drawingml/2006/main" name="10_Office Theme">
  <a:themeElements>
    <a:clrScheme name="Belfius">
      <a:dk1>
        <a:srgbClr val="51626F"/>
      </a:dk1>
      <a:lt1>
        <a:srgbClr val="FFFFFF"/>
      </a:lt1>
      <a:dk2>
        <a:srgbClr val="D2D2D7"/>
      </a:dk2>
      <a:lt2>
        <a:srgbClr val="979FAA"/>
      </a:lt2>
      <a:accent1>
        <a:srgbClr val="C30045"/>
      </a:accent1>
      <a:accent2>
        <a:srgbClr val="8C193C"/>
      </a:accent2>
      <a:accent3>
        <a:srgbClr val="AF1E3C"/>
      </a:accent3>
      <a:accent4>
        <a:srgbClr val="DC1E5F"/>
      </a:accent4>
      <a:accent5>
        <a:srgbClr val="F03241"/>
      </a:accent5>
      <a:accent6>
        <a:srgbClr val="FAAFA0"/>
      </a:accent6>
      <a:hlink>
        <a:srgbClr val="002060"/>
      </a:hlink>
      <a:folHlink>
        <a:srgbClr val="FFDAE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numCol="1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numCol="1"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numCol="1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lfius template - Technology 1" id="{BC87B7C6-C20F-44CF-A3A7-435189C9E2DB}" vid="{4E78F817-091E-49F4-AE5D-FAD96F6C5BBD}"/>
    </a:ext>
  </a:extLst>
</a:theme>
</file>

<file path=ppt/theme/theme5.xml><?xml version="1.0" encoding="utf-8"?>
<a:theme xmlns:a="http://schemas.openxmlformats.org/drawingml/2006/main" name="2_Hexaware Master">
  <a:themeElements>
    <a:clrScheme name="Belfiu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30045"/>
      </a:accent1>
      <a:accent2>
        <a:srgbClr val="51626F"/>
      </a:accent2>
      <a:accent3>
        <a:srgbClr val="C3C3C3"/>
      </a:accent3>
      <a:accent4>
        <a:srgbClr val="183A6B"/>
      </a:accent4>
      <a:accent5>
        <a:srgbClr val="7030A0"/>
      </a:accent5>
      <a:accent6>
        <a:srgbClr val="3C2CDA"/>
      </a:accent6>
      <a:hlink>
        <a:srgbClr val="0563C1"/>
      </a:hlink>
      <a:folHlink>
        <a:srgbClr val="00B0F0"/>
      </a:folHlink>
    </a:clrScheme>
    <a:fontScheme name="Hexaware">
      <a:majorFont>
        <a:latin typeface="Manrope Light"/>
        <a:ea typeface="Helvetica Neue Medium"/>
        <a:cs typeface="Helvetica Neue Medium"/>
      </a:majorFont>
      <a:minorFont>
        <a:latin typeface="Manrop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ght_Corporate Template.pptx" id="{41E689D6-C531-47CC-AFF0-309785A80631}" vid="{C5795010-44E4-4FE2-851A-4FC5D2C485C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9E7F9ED309FB40962B4872950E91EC" ma:contentTypeVersion="4" ma:contentTypeDescription="Create a new document." ma:contentTypeScope="" ma:versionID="76d274f8638c0982e21d6e82565ad29a">
  <xsd:schema xmlns:xsd="http://www.w3.org/2001/XMLSchema" xmlns:xs="http://www.w3.org/2001/XMLSchema" xmlns:p="http://schemas.microsoft.com/office/2006/metadata/properties" xmlns:ns2="3b7458e3-3bc9-45a3-9f62-0ec63efe9264" targetNamespace="http://schemas.microsoft.com/office/2006/metadata/properties" ma:root="true" ma:fieldsID="af56a5db91c0dc14cb596c4e9f0a2085" ns2:_="">
    <xsd:import namespace="3b7458e3-3bc9-45a3-9f62-0ec63efe92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7458e3-3bc9-45a3-9f62-0ec63efe92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8D1F87-DBEF-41BD-8C13-795240C828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BE3DE6-8DEE-402D-BB18-D5478D3C1770}">
  <ds:schemaRefs>
    <ds:schemaRef ds:uri="3b7458e3-3bc9-45a3-9f62-0ec63efe926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54AD475-CE3B-438E-A5E5-4E39B635A9A0}">
  <ds:schemaRefs>
    <ds:schemaRef ds:uri="3b7458e3-3bc9-45a3-9f62-0ec63efe926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ght_Corporate Template</Template>
  <TotalTime>0</TotalTime>
  <Words>60</Words>
  <Application>Microsoft Office PowerPoint</Application>
  <PresentationFormat>Widescreen</PresentationFormat>
  <Paragraphs>40</Paragraphs>
  <Slides>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Hexaware Master</vt:lpstr>
      <vt:lpstr>Scottish widows</vt:lpstr>
      <vt:lpstr>1_Hexaware Master</vt:lpstr>
      <vt:lpstr>10_Office Theme</vt:lpstr>
      <vt:lpstr>2_Hexaware Master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Overview</dc:title>
  <dc:creator>Hexaware</dc:creator>
  <cp:keywords/>
  <cp:lastModifiedBy>Gautam Reddy (Belfius Insurance)</cp:lastModifiedBy>
  <cp:revision>257</cp:revision>
  <dcterms:created xsi:type="dcterms:W3CDTF">2023-12-01T15:20:00Z</dcterms:created>
  <dcterms:modified xsi:type="dcterms:W3CDTF">2025-11-18T11:0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NewReviewCycle">
    <vt:lpwstr/>
  </property>
  <property fmtid="{D5CDD505-2E9C-101B-9397-08002B2CF9AE}" pid="4" name="ContentTypeId">
    <vt:lpwstr>0x010100329E7F9ED309FB40962B4872950E91EC</vt:lpwstr>
  </property>
  <property fmtid="{D5CDD505-2E9C-101B-9397-08002B2CF9AE}" pid="5" name="_AdHocReviewCycleID">
    <vt:i4>835660225</vt:i4>
  </property>
  <property fmtid="{D5CDD505-2E9C-101B-9397-08002B2CF9AE}" pid="6" name="_EmailSubject">
    <vt:lpwstr>Need Team Photos</vt:lpwstr>
  </property>
  <property fmtid="{D5CDD505-2E9C-101B-9397-08002B2CF9AE}" pid="7" name="_AuthorEmail">
    <vt:lpwstr>Gautam.Reddy@belins.be</vt:lpwstr>
  </property>
  <property fmtid="{D5CDD505-2E9C-101B-9397-08002B2CF9AE}" pid="8" name="_AuthorEmailDisplayName">
    <vt:lpwstr>Gautam Reddy (Belfius Insurance)</vt:lpwstr>
  </property>
</Properties>
</file>